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85" r:id="rId5"/>
  </p:sldMasterIdLst>
  <p:notesMasterIdLst>
    <p:notesMasterId r:id="rId32"/>
  </p:notesMasterIdLst>
  <p:sldIdLst>
    <p:sldId id="5677" r:id="rId6"/>
    <p:sldId id="2147481745" r:id="rId7"/>
    <p:sldId id="2147481746" r:id="rId8"/>
    <p:sldId id="2147481747" r:id="rId9"/>
    <p:sldId id="2134959579" r:id="rId10"/>
    <p:sldId id="2147481709" r:id="rId11"/>
    <p:sldId id="2147481533" r:id="rId12"/>
    <p:sldId id="2147481707" r:id="rId13"/>
    <p:sldId id="2147481748" r:id="rId14"/>
    <p:sldId id="2147481584" r:id="rId15"/>
    <p:sldId id="2147481749" r:id="rId16"/>
    <p:sldId id="2147481540" r:id="rId17"/>
    <p:sldId id="2147481658" r:id="rId18"/>
    <p:sldId id="2147481682" r:id="rId19"/>
    <p:sldId id="2147481683" r:id="rId20"/>
    <p:sldId id="2147481653" r:id="rId21"/>
    <p:sldId id="2147481654" r:id="rId22"/>
    <p:sldId id="2147481619" r:id="rId23"/>
    <p:sldId id="2147481655" r:id="rId24"/>
    <p:sldId id="2147481656" r:id="rId25"/>
    <p:sldId id="2147481708" r:id="rId26"/>
    <p:sldId id="2147481667" r:id="rId27"/>
    <p:sldId id="2147481668" r:id="rId28"/>
    <p:sldId id="2147481710" r:id="rId29"/>
    <p:sldId id="2134959591" r:id="rId30"/>
    <p:sldId id="2147481750" r:id="rId3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411CD804-184B-2DFA-FB57-D8FC982CA181}" name="Georg Bischof" initials="GB" userId="S::gbischof@pumabiotechnology.com::019dcded-c596-4e3e-ade9-ad4c28d24294" providerId="AD"/>
  <p188:author id="{825E3E06-7B01-8A32-D3ED-3D8AEAB5784E}" name="Douglas Hunt" initials="DH" userId="S::dmhunt@pumabiotechnology.com::448eca7d-9828-472f-a530-a62122091289" providerId="AD"/>
  <p188:author id="{5F650608-95DA-50C0-D2A2-DF61077AC66F}" name="Petra Rietschel" initials="PR" userId="S::prietschel@pumabiotechnology.com::a756be6a-80e0-4203-b049-32c1f123e2a1" providerId="AD"/>
  <p188:author id="{A0825C0F-51D1-5FAD-5AB1-B8E035E899D8}" name="Shannon Landergan" initials="SL" userId="S::slandergan@pumabiotechnology.com::b37e60b5-e54c-43e6-9a32-05c471d56de4" providerId="AD"/>
  <p188:author id="{D9B40F61-A14E-3A32-FAC5-32F377CFD6E2}" name="Judy Bebchuk" initials="" userId="S::jbebchuk@pumabiotechnology.com::6abd6097-8fea-4843-abc0-ee3760e1dcc4" providerId="AD"/>
  <p188:author id="{26761965-C418-5AF4-578D-734FAAF97AF4}" name="Hadi Danaee" initials="HD" userId="S::hdanaee@pumabiotechnology.com::a8430155-4064-4544-81c1-cf8cc55b4f12" providerId="AD"/>
  <p188:author id="{9EFD5B67-39B7-646B-4EAA-095B53613845}" name="Elaine Wong" initials="" userId="S::ewong@pumabiotechnology.com::110726d5-dfd5-410e-a307-a9fc65ebd86a" providerId="AD"/>
  <p188:author id="{EEC7E270-4FF5-E5AC-E4E3-989712B7BD0E}" name="Beth Lowenthal" initials="BL" userId="S::blowenthal@pumabiotechnology.com::22628020-5689-4f8e-a738-6af5748ef5b1" providerId="AD"/>
  <p188:author id="{0345DA9F-96E6-0BFE-5178-F767B50397D8}" name="Dan DiPrimeo" initials="DD" userId="S::ddiprimeo@pumabiotechnology.com::1a2247c2-2b3d-4b70-9d1b-feee56b5aebc" providerId="AD"/>
  <p188:author id="{1A1FC6A1-4EA4-6C97-0E6F-D3D6D183D7A6}" name="Lisa Eli" initials="LE" userId="S::leli@pumabiotechnology.com::9ac284b3-5cb9-479c-862c-ccd9eb705312" providerId="AD"/>
  <p188:author id="{7BC3E4A9-D2EE-B867-DD4C-39306EB68447}" name="Rico Ustaris" initials="RU" userId="S::rustaris@pumabiotechnology.com::d3512952-d00a-49ec-827f-386fb12914a3" providerId="AD"/>
  <p188:author id="{87DDDAB3-417B-C1F7-F985-C8014AF266BC}" name="Ginting, Theo" initials="TG" userId="S::theo.ginting@iqvia.com::362878ee-1380-4a43-9649-f6150aff8ace" providerId="AD"/>
  <p188:author id="{D5D67CC9-55EA-0048-E8D5-B2907FD8A62C}" name="Aimee Frazier" initials="AF" userId="S::afrazier@pumabiotechnology.com::f31f7e6e-fa85-409a-af7b-3bdfb38cfa18" providerId="AD"/>
  <p188:author id="{5FE89ACE-EDCF-4B91-0438-7072B394C0EF}" name="Alan Auerbach" initials="" userId="S::ahauerbach@pumabiotechnology.com::6cce15cb-dc20-44d4-a5a8-c5076493af0d" providerId="AD"/>
  <p188:author id="{CCCE87E2-DBAB-0159-B624-D1C4D6C9ECB5}" name="Ken Wiehe" initials="KW" userId="S::kwiehe@pumabiotechnology.com::8440beb7-ef3c-4b30-95cd-a3681fc94317" providerId="AD"/>
  <p188:author id="{A22679EA-87AB-E124-3C4E-E9C99754BD9A}" name="PRASAD, SHUBHANGI" initials="SP" userId="S::shubhangi.prasad@iqvia.com::a822b3d6-2a68-4947-9645-5fbf5dc17623" providerId="AD"/>
  <p188:author id="{003B10EF-098F-3D21-824C-420052B25A9C}" name="Shagufta Ahmed" initials="SA" userId="S::sahmed@pumabiotechnology.com::6e040c65-2794-4c6a-99a4-349f46d551a2" providerId="AD"/>
  <p188:author id="{9FD9E4F4-1E87-8BA1-09E3-129D1A60B34E}" name="Vinay Devendrappa" initials="VD" userId="S::vdevendrappa@pumabiotechnology.com::29e37267-8823-4ddd-9b4d-f8014777e069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060"/>
    <p:restoredTop sz="94692"/>
  </p:normalViewPr>
  <p:slideViewPr>
    <p:cSldViewPr snapToGrid="0">
      <p:cViewPr varScale="1">
        <p:scale>
          <a:sx n="59" d="100"/>
          <a:sy n="59" d="100"/>
        </p:scale>
        <p:origin x="808" y="2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21" Type="http://schemas.openxmlformats.org/officeDocument/2006/relationships/slide" Target="slides/slide16.xml"/><Relationship Id="rId34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presProps" Target="presProps.xml"/><Relationship Id="rId38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notesMaster" Target="notesMasters/notesMaster1.xml"/><Relationship Id="rId37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theme" Target="theme/theme1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riann Ohanesian" userId="3f7e1b01-daac-4487-9a29-c1db13c31acc" providerId="ADAL" clId="{6A408700-EB78-42A3-AD79-CCF4D94CB929}"/>
    <pc:docChg chg="delSld delMainMaster">
      <pc:chgData name="Mariann Ohanesian" userId="3f7e1b01-daac-4487-9a29-c1db13c31acc" providerId="ADAL" clId="{6A408700-EB78-42A3-AD79-CCF4D94CB929}" dt="2026-05-08T13:29:51.623" v="26" actId="47"/>
      <pc:docMkLst>
        <pc:docMk/>
      </pc:docMkLst>
      <pc:sldChg chg="del">
        <pc:chgData name="Mariann Ohanesian" userId="3f7e1b01-daac-4487-9a29-c1db13c31acc" providerId="ADAL" clId="{6A408700-EB78-42A3-AD79-CCF4D94CB929}" dt="2026-05-08T13:29:15.282" v="13" actId="47"/>
        <pc:sldMkLst>
          <pc:docMk/>
          <pc:sldMk cId="2670415308" sldId="493"/>
        </pc:sldMkLst>
      </pc:sldChg>
      <pc:sldChg chg="del">
        <pc:chgData name="Mariann Ohanesian" userId="3f7e1b01-daac-4487-9a29-c1db13c31acc" providerId="ADAL" clId="{6A408700-EB78-42A3-AD79-CCF4D94CB929}" dt="2026-05-08T13:29:09.381" v="2" actId="47"/>
        <pc:sldMkLst>
          <pc:docMk/>
          <pc:sldMk cId="3794764070" sldId="6880"/>
        </pc:sldMkLst>
      </pc:sldChg>
      <pc:sldChg chg="del">
        <pc:chgData name="Mariann Ohanesian" userId="3f7e1b01-daac-4487-9a29-c1db13c31acc" providerId="ADAL" clId="{6A408700-EB78-42A3-AD79-CCF4D94CB929}" dt="2026-05-08T13:29:51.623" v="26" actId="47"/>
        <pc:sldMkLst>
          <pc:docMk/>
          <pc:sldMk cId="3163675373" sldId="8549"/>
        </pc:sldMkLst>
      </pc:sldChg>
      <pc:sldChg chg="del">
        <pc:chgData name="Mariann Ohanesian" userId="3f7e1b01-daac-4487-9a29-c1db13c31acc" providerId="ADAL" clId="{6A408700-EB78-42A3-AD79-CCF4D94CB929}" dt="2026-05-08T13:29:08.526" v="1" actId="47"/>
        <pc:sldMkLst>
          <pc:docMk/>
          <pc:sldMk cId="3357172859" sldId="2134959233"/>
        </pc:sldMkLst>
      </pc:sldChg>
      <pc:sldChg chg="del">
        <pc:chgData name="Mariann Ohanesian" userId="3f7e1b01-daac-4487-9a29-c1db13c31acc" providerId="ADAL" clId="{6A408700-EB78-42A3-AD79-CCF4D94CB929}" dt="2026-05-08T13:29:42.873" v="19" actId="47"/>
        <pc:sldMkLst>
          <pc:docMk/>
          <pc:sldMk cId="256618996" sldId="2134959266"/>
        </pc:sldMkLst>
      </pc:sldChg>
      <pc:sldChg chg="del">
        <pc:chgData name="Mariann Ohanesian" userId="3f7e1b01-daac-4487-9a29-c1db13c31acc" providerId="ADAL" clId="{6A408700-EB78-42A3-AD79-CCF4D94CB929}" dt="2026-05-08T13:29:43.997" v="20" actId="47"/>
        <pc:sldMkLst>
          <pc:docMk/>
          <pc:sldMk cId="95146320" sldId="2134959267"/>
        </pc:sldMkLst>
      </pc:sldChg>
      <pc:sldChg chg="del">
        <pc:chgData name="Mariann Ohanesian" userId="3f7e1b01-daac-4487-9a29-c1db13c31acc" providerId="ADAL" clId="{6A408700-EB78-42A3-AD79-CCF4D94CB929}" dt="2026-05-08T13:29:46.566" v="21" actId="47"/>
        <pc:sldMkLst>
          <pc:docMk/>
          <pc:sldMk cId="3345536837" sldId="2134959268"/>
        </pc:sldMkLst>
      </pc:sldChg>
      <pc:sldChg chg="del">
        <pc:chgData name="Mariann Ohanesian" userId="3f7e1b01-daac-4487-9a29-c1db13c31acc" providerId="ADAL" clId="{6A408700-EB78-42A3-AD79-CCF4D94CB929}" dt="2026-05-08T13:29:47.785" v="22" actId="47"/>
        <pc:sldMkLst>
          <pc:docMk/>
          <pc:sldMk cId="2779561754" sldId="2134959269"/>
        </pc:sldMkLst>
      </pc:sldChg>
      <pc:sldChg chg="del">
        <pc:chgData name="Mariann Ohanesian" userId="3f7e1b01-daac-4487-9a29-c1db13c31acc" providerId="ADAL" clId="{6A408700-EB78-42A3-AD79-CCF4D94CB929}" dt="2026-05-08T13:29:48.672" v="23" actId="47"/>
        <pc:sldMkLst>
          <pc:docMk/>
          <pc:sldMk cId="4220491072" sldId="2134959270"/>
        </pc:sldMkLst>
      </pc:sldChg>
      <pc:sldChg chg="del">
        <pc:chgData name="Mariann Ohanesian" userId="3f7e1b01-daac-4487-9a29-c1db13c31acc" providerId="ADAL" clId="{6A408700-EB78-42A3-AD79-CCF4D94CB929}" dt="2026-05-08T13:29:49.450" v="24" actId="47"/>
        <pc:sldMkLst>
          <pc:docMk/>
          <pc:sldMk cId="902319149" sldId="2134959271"/>
        </pc:sldMkLst>
      </pc:sldChg>
      <pc:sldChg chg="del">
        <pc:chgData name="Mariann Ohanesian" userId="3f7e1b01-daac-4487-9a29-c1db13c31acc" providerId="ADAL" clId="{6A408700-EB78-42A3-AD79-CCF4D94CB929}" dt="2026-05-08T13:29:50.487" v="25" actId="47"/>
        <pc:sldMkLst>
          <pc:docMk/>
          <pc:sldMk cId="1437752496" sldId="2134959272"/>
        </pc:sldMkLst>
      </pc:sldChg>
      <pc:sldChg chg="del">
        <pc:chgData name="Mariann Ohanesian" userId="3f7e1b01-daac-4487-9a29-c1db13c31acc" providerId="ADAL" clId="{6A408700-EB78-42A3-AD79-CCF4D94CB929}" dt="2026-05-08T13:29:18.805" v="18" actId="47"/>
        <pc:sldMkLst>
          <pc:docMk/>
          <pc:sldMk cId="3879596498" sldId="2134959580"/>
        </pc:sldMkLst>
      </pc:sldChg>
      <pc:sldChg chg="del">
        <pc:chgData name="Mariann Ohanesian" userId="3f7e1b01-daac-4487-9a29-c1db13c31acc" providerId="ADAL" clId="{6A408700-EB78-42A3-AD79-CCF4D94CB929}" dt="2026-05-08T13:29:07.770" v="0" actId="47"/>
        <pc:sldMkLst>
          <pc:docMk/>
          <pc:sldMk cId="4227866611" sldId="2134959692"/>
        </pc:sldMkLst>
      </pc:sldChg>
      <pc:sldChg chg="del">
        <pc:chgData name="Mariann Ohanesian" userId="3f7e1b01-daac-4487-9a29-c1db13c31acc" providerId="ADAL" clId="{6A408700-EB78-42A3-AD79-CCF4D94CB929}" dt="2026-05-08T13:29:12.405" v="7" actId="47"/>
        <pc:sldMkLst>
          <pc:docMk/>
          <pc:sldMk cId="3525619689" sldId="2134959700"/>
        </pc:sldMkLst>
      </pc:sldChg>
      <pc:sldChg chg="del">
        <pc:chgData name="Mariann Ohanesian" userId="3f7e1b01-daac-4487-9a29-c1db13c31acc" providerId="ADAL" clId="{6A408700-EB78-42A3-AD79-CCF4D94CB929}" dt="2026-05-08T13:29:10.993" v="4" actId="47"/>
        <pc:sldMkLst>
          <pc:docMk/>
          <pc:sldMk cId="2467415094" sldId="2134959721"/>
        </pc:sldMkLst>
      </pc:sldChg>
      <pc:sldChg chg="del">
        <pc:chgData name="Mariann Ohanesian" userId="3f7e1b01-daac-4487-9a29-c1db13c31acc" providerId="ADAL" clId="{6A408700-EB78-42A3-AD79-CCF4D94CB929}" dt="2026-05-08T13:29:11.236" v="5" actId="47"/>
        <pc:sldMkLst>
          <pc:docMk/>
          <pc:sldMk cId="3124904873" sldId="2134959722"/>
        </pc:sldMkLst>
      </pc:sldChg>
      <pc:sldChg chg="del">
        <pc:chgData name="Mariann Ohanesian" userId="3f7e1b01-daac-4487-9a29-c1db13c31acc" providerId="ADAL" clId="{6A408700-EB78-42A3-AD79-CCF4D94CB929}" dt="2026-05-08T13:29:14.980" v="12" actId="47"/>
        <pc:sldMkLst>
          <pc:docMk/>
          <pc:sldMk cId="2072323776" sldId="2134959733"/>
        </pc:sldMkLst>
      </pc:sldChg>
      <pc:sldChg chg="del">
        <pc:chgData name="Mariann Ohanesian" userId="3f7e1b01-daac-4487-9a29-c1db13c31acc" providerId="ADAL" clId="{6A408700-EB78-42A3-AD79-CCF4D94CB929}" dt="2026-05-08T13:29:14.042" v="10" actId="47"/>
        <pc:sldMkLst>
          <pc:docMk/>
          <pc:sldMk cId="3416418301" sldId="2147481523"/>
        </pc:sldMkLst>
      </pc:sldChg>
      <pc:sldChg chg="del">
        <pc:chgData name="Mariann Ohanesian" userId="3f7e1b01-daac-4487-9a29-c1db13c31acc" providerId="ADAL" clId="{6A408700-EB78-42A3-AD79-CCF4D94CB929}" dt="2026-05-08T13:29:11.483" v="6" actId="47"/>
        <pc:sldMkLst>
          <pc:docMk/>
          <pc:sldMk cId="2953103027" sldId="2147481524"/>
        </pc:sldMkLst>
      </pc:sldChg>
      <pc:sldChg chg="del">
        <pc:chgData name="Mariann Ohanesian" userId="3f7e1b01-daac-4487-9a29-c1db13c31acc" providerId="ADAL" clId="{6A408700-EB78-42A3-AD79-CCF4D94CB929}" dt="2026-05-08T13:29:10.178" v="3" actId="47"/>
        <pc:sldMkLst>
          <pc:docMk/>
          <pc:sldMk cId="3414025641" sldId="2147481622"/>
        </pc:sldMkLst>
      </pc:sldChg>
      <pc:sldChg chg="del">
        <pc:chgData name="Mariann Ohanesian" userId="3f7e1b01-daac-4487-9a29-c1db13c31acc" providerId="ADAL" clId="{6A408700-EB78-42A3-AD79-CCF4D94CB929}" dt="2026-05-08T13:29:12.735" v="8" actId="47"/>
        <pc:sldMkLst>
          <pc:docMk/>
          <pc:sldMk cId="4056736510" sldId="2147481695"/>
        </pc:sldMkLst>
      </pc:sldChg>
      <pc:sldChg chg="del">
        <pc:chgData name="Mariann Ohanesian" userId="3f7e1b01-daac-4487-9a29-c1db13c31acc" providerId="ADAL" clId="{6A408700-EB78-42A3-AD79-CCF4D94CB929}" dt="2026-05-08T13:29:16.772" v="16" actId="47"/>
        <pc:sldMkLst>
          <pc:docMk/>
          <pc:sldMk cId="2150532644" sldId="2147481732"/>
        </pc:sldMkLst>
      </pc:sldChg>
      <pc:sldChg chg="del">
        <pc:chgData name="Mariann Ohanesian" userId="3f7e1b01-daac-4487-9a29-c1db13c31acc" providerId="ADAL" clId="{6A408700-EB78-42A3-AD79-CCF4D94CB929}" dt="2026-05-08T13:29:14.311" v="11" actId="47"/>
        <pc:sldMkLst>
          <pc:docMk/>
          <pc:sldMk cId="2100138840" sldId="2147481733"/>
        </pc:sldMkLst>
      </pc:sldChg>
      <pc:sldChg chg="del">
        <pc:chgData name="Mariann Ohanesian" userId="3f7e1b01-daac-4487-9a29-c1db13c31acc" providerId="ADAL" clId="{6A408700-EB78-42A3-AD79-CCF4D94CB929}" dt="2026-05-08T13:29:17.427" v="17" actId="47"/>
        <pc:sldMkLst>
          <pc:docMk/>
          <pc:sldMk cId="1909033978" sldId="2147481736"/>
        </pc:sldMkLst>
      </pc:sldChg>
      <pc:sldChg chg="del">
        <pc:chgData name="Mariann Ohanesian" userId="3f7e1b01-daac-4487-9a29-c1db13c31acc" providerId="ADAL" clId="{6A408700-EB78-42A3-AD79-CCF4D94CB929}" dt="2026-05-08T13:29:16.264" v="15" actId="47"/>
        <pc:sldMkLst>
          <pc:docMk/>
          <pc:sldMk cId="2501446560" sldId="2147481741"/>
        </pc:sldMkLst>
      </pc:sldChg>
      <pc:sldChg chg="del">
        <pc:chgData name="Mariann Ohanesian" userId="3f7e1b01-daac-4487-9a29-c1db13c31acc" providerId="ADAL" clId="{6A408700-EB78-42A3-AD79-CCF4D94CB929}" dt="2026-05-08T13:29:15.552" v="14" actId="47"/>
        <pc:sldMkLst>
          <pc:docMk/>
          <pc:sldMk cId="2511432225" sldId="2147481742"/>
        </pc:sldMkLst>
      </pc:sldChg>
      <pc:sldChg chg="del">
        <pc:chgData name="Mariann Ohanesian" userId="3f7e1b01-daac-4487-9a29-c1db13c31acc" providerId="ADAL" clId="{6A408700-EB78-42A3-AD79-CCF4D94CB929}" dt="2026-05-08T13:29:13.191" v="9" actId="47"/>
        <pc:sldMkLst>
          <pc:docMk/>
          <pc:sldMk cId="45242775" sldId="2147481744"/>
        </pc:sldMkLst>
      </pc:sldChg>
      <pc:sldMasterChg chg="delSldLayout">
        <pc:chgData name="Mariann Ohanesian" userId="3f7e1b01-daac-4487-9a29-c1db13c31acc" providerId="ADAL" clId="{6A408700-EB78-42A3-AD79-CCF4D94CB929}" dt="2026-05-08T13:29:17.427" v="17" actId="47"/>
        <pc:sldMasterMkLst>
          <pc:docMk/>
          <pc:sldMasterMk cId="4269698987" sldId="2147483660"/>
        </pc:sldMasterMkLst>
        <pc:sldLayoutChg chg="del">
          <pc:chgData name="Mariann Ohanesian" userId="3f7e1b01-daac-4487-9a29-c1db13c31acc" providerId="ADAL" clId="{6A408700-EB78-42A3-AD79-CCF4D94CB929}" dt="2026-05-08T13:29:17.427" v="17" actId="47"/>
          <pc:sldLayoutMkLst>
            <pc:docMk/>
            <pc:sldMasterMk cId="4269698987" sldId="2147483660"/>
            <pc:sldLayoutMk cId="183469574" sldId="2147483673"/>
          </pc:sldLayoutMkLst>
        </pc:sldLayoutChg>
      </pc:sldMasterChg>
      <pc:sldMasterChg chg="del delSldLayout">
        <pc:chgData name="Mariann Ohanesian" userId="3f7e1b01-daac-4487-9a29-c1db13c31acc" providerId="ADAL" clId="{6A408700-EB78-42A3-AD79-CCF4D94CB929}" dt="2026-05-08T13:29:51.623" v="26" actId="47"/>
        <pc:sldMasterMkLst>
          <pc:docMk/>
          <pc:sldMasterMk cId="2855260965" sldId="2147483678"/>
        </pc:sldMasterMkLst>
        <pc:sldLayoutChg chg="del">
          <pc:chgData name="Mariann Ohanesian" userId="3f7e1b01-daac-4487-9a29-c1db13c31acc" providerId="ADAL" clId="{6A408700-EB78-42A3-AD79-CCF4D94CB929}" dt="2026-05-08T13:29:51.623" v="26" actId="47"/>
          <pc:sldLayoutMkLst>
            <pc:docMk/>
            <pc:sldMasterMk cId="2855260965" sldId="2147483678"/>
            <pc:sldLayoutMk cId="2877058142" sldId="2147483679"/>
          </pc:sldLayoutMkLst>
        </pc:sldLayoutChg>
        <pc:sldLayoutChg chg="del">
          <pc:chgData name="Mariann Ohanesian" userId="3f7e1b01-daac-4487-9a29-c1db13c31acc" providerId="ADAL" clId="{6A408700-EB78-42A3-AD79-CCF4D94CB929}" dt="2026-05-08T13:29:51.623" v="26" actId="47"/>
          <pc:sldLayoutMkLst>
            <pc:docMk/>
            <pc:sldMasterMk cId="2855260965" sldId="2147483678"/>
            <pc:sldLayoutMk cId="1745198206" sldId="2147483680"/>
          </pc:sldLayoutMkLst>
        </pc:sldLayoutChg>
        <pc:sldLayoutChg chg="del">
          <pc:chgData name="Mariann Ohanesian" userId="3f7e1b01-daac-4487-9a29-c1db13c31acc" providerId="ADAL" clId="{6A408700-EB78-42A3-AD79-CCF4D94CB929}" dt="2026-05-08T13:29:51.623" v="26" actId="47"/>
          <pc:sldLayoutMkLst>
            <pc:docMk/>
            <pc:sldMasterMk cId="2855260965" sldId="2147483678"/>
            <pc:sldLayoutMk cId="1652810022" sldId="2147483681"/>
          </pc:sldLayoutMkLst>
        </pc:sldLayoutChg>
        <pc:sldLayoutChg chg="del">
          <pc:chgData name="Mariann Ohanesian" userId="3f7e1b01-daac-4487-9a29-c1db13c31acc" providerId="ADAL" clId="{6A408700-EB78-42A3-AD79-CCF4D94CB929}" dt="2026-05-08T13:29:51.623" v="26" actId="47"/>
          <pc:sldLayoutMkLst>
            <pc:docMk/>
            <pc:sldMasterMk cId="2855260965" sldId="2147483678"/>
            <pc:sldLayoutMk cId="3827136694" sldId="2147483682"/>
          </pc:sldLayoutMkLst>
        </pc:sldLayoutChg>
        <pc:sldLayoutChg chg="del">
          <pc:chgData name="Mariann Ohanesian" userId="3f7e1b01-daac-4487-9a29-c1db13c31acc" providerId="ADAL" clId="{6A408700-EB78-42A3-AD79-CCF4D94CB929}" dt="2026-05-08T13:29:51.623" v="26" actId="47"/>
          <pc:sldLayoutMkLst>
            <pc:docMk/>
            <pc:sldMasterMk cId="2855260965" sldId="2147483678"/>
            <pc:sldLayoutMk cId="1095036919" sldId="2147483683"/>
          </pc:sldLayoutMkLst>
        </pc:sldLayoutChg>
        <pc:sldLayoutChg chg="del">
          <pc:chgData name="Mariann Ohanesian" userId="3f7e1b01-daac-4487-9a29-c1db13c31acc" providerId="ADAL" clId="{6A408700-EB78-42A3-AD79-CCF4D94CB929}" dt="2026-05-08T13:29:43.997" v="20" actId="47"/>
          <pc:sldLayoutMkLst>
            <pc:docMk/>
            <pc:sldMasterMk cId="2855260965" sldId="2147483678"/>
            <pc:sldLayoutMk cId="2273008878" sldId="2147483684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C6D22D-48C7-4E3F-829F-A98651E9BC74}" type="datetimeFigureOut">
              <a:rPr lang="en-US" smtClean="0"/>
              <a:t>5/8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56EE696-2537-447A-9A78-B391CC0C27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58595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6EE696-2537-447A-9A78-B391CC0C276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515590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27EE1D4-F26F-7C50-E173-B6B6BDAAD2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5688C0D-F631-B7B8-EC68-856DC784191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5435212-418D-9B3F-970C-81782C8FB6A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07211C6-408D-E68A-D459-1A75F5519E5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A83FBA6-2CB8-458C-9242-AC8951CAD04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7779272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3A57940-8529-2F81-239B-BC58DC82CB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F98BEA5-5B68-6C85-FCF9-70B78E6E6E6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7DC8710-1B15-36B4-61F7-A656DA07A24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043BAA7-C95E-7062-1CC7-FE42D808DD6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6EE696-2537-447A-9A78-B391CC0C276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9028304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0CD7C9-9640-AF71-041C-7AF6BB9D57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1248EC6-3136-1D9C-9BEB-EDCF8E95756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4F4F2C8-B99C-90C6-4C33-66F9DAEFBA8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D0EBEBA-B539-6A7E-18BE-5449AB584CE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6EE696-2537-447A-9A78-B391CC0C276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0201556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0D0370-483C-7DBC-70D7-34DCFBFB55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37B235F-4ED2-C8E2-3E5F-4E787F84B61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E8AC06F-6F5E-E96B-BE01-FBFB76F11F5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93E6817-41B6-BD50-5D5B-A733D61C95B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6EE696-2537-447A-9A78-B391CC0C276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1440373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F2D021-8161-692B-CF21-DC7108F8C7B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C302E88-39DD-038E-D517-294A36D4D17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B6B2076-6C8D-41BB-D3C1-CDB4BE63686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5541956-0DA5-EB62-B4D3-9F657860B47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6EE696-2537-447A-9A78-B391CC0C276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0464902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389B2E-BA00-AE96-F877-ACEB71F7C54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02E242-668A-963A-14DD-16F092C4A3E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D130B28-F708-50BD-7B72-C1F30D6F32F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7BBE49D-A3DB-8DA3-5D6B-EA522B29962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6EE696-2537-447A-9A78-B391CC0C276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9689820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A83FBA6-2CB8-458C-9242-AC8951CAD04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456051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C06CE90-EA96-D6A8-A292-E699FC6D63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34B27E9-2C2C-516F-617D-7A7BC851F07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462D49A-3999-6961-9E7F-C07E6A40ED7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EDBDC4E-A9DB-76A0-4B2F-C84C6CB1CA6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A83FBA6-2CB8-458C-9242-AC8951CAD04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8114520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166A2A1-8377-2B35-A37F-B1A0608699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2EE274A-3755-9D79-6304-FCCCD8941D0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B323644-65E7-A009-E52C-04DE381E8D3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E42024-88AB-DF2D-AB43-034F1617C7C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A83FBA6-2CB8-458C-9242-AC8951CAD04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3868440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E734F5-6A1F-1756-2577-3C016F1DDC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4624328-1412-3E58-8A38-99D16287112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2E3D8DA-31B8-03B9-99D6-79D864C9FDD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DDBDFFF-961A-B1F1-57A7-C2EC8D451CF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A83FBA6-2CB8-458C-9242-AC8951CAD04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740460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991B7E-646E-41A6-9FB3-7AE22288111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4766316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407CB2-BF7E-E844-B445-96863078763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303620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63F364-97CD-4E9C-845F-0D342BF0487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9972397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47867F-F1E7-19AF-1646-C148FCCAC9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014AA1D-3F2C-6372-4F11-35DE91A1A80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96ABA48-5B5E-9B66-235B-E5E0E82FE26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8C317F7-F2CA-E46E-D95F-1C33FF63E96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6EE696-2537-447A-9A78-B391CC0C276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1991815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30B0A2-BDB1-3295-4193-42B50B2B689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2B064F2-0227-3EE3-BC9D-1F1781634FB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BD89903-D5EC-F9C1-8EAC-59668F0EB10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14A637D-65E3-91E9-BE64-8210A5F9856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6EE696-2537-447A-9A78-B391CC0C276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8386997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2C906E9-14FE-6022-D902-3ED7CE2439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092066F-10DC-1680-B14A-D9A28F2BD21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AC34B19-456A-203D-CD02-F3B22A80A99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3719FD-4543-003D-B990-C03F4AAC331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6EE696-2537-447A-9A78-B391CC0C276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576945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6EE696-2537-447A-9A78-B391CC0C276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9495702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20604B-DF10-8ABA-3796-FCAC5A90E0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88A5831-AEDD-2C13-DB84-DE594B88DBB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52513AA-5C5B-D695-E218-0CED146B9E5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188A66E-F31C-6041-772B-07E7B9C9768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6EE696-2537-447A-9A78-B391CC0C276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112824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78E65C-31D8-9801-28CB-8A82F8D578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862B9D5-C306-763C-7E17-5E7CF5F4CAD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66325AF-5BE7-1BF5-2D09-68E79986129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2358875-C549-6401-3FE2-2BDF325D57D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A83FBA6-2CB8-458C-9242-AC8951CAD04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058407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9183" y="0"/>
            <a:ext cx="11748516" cy="10287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2586143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0200" y="1389888"/>
            <a:ext cx="11734800" cy="4752595"/>
          </a:xfrm>
        </p:spPr>
        <p:txBody>
          <a:bodyPr/>
          <a:lstStyle>
            <a:lvl2pPr marL="470286" indent="-211925">
              <a:defRPr sz="1351"/>
            </a:lvl2pPr>
            <a:lvl3pPr marL="685783" indent="-215499">
              <a:defRPr sz="1200"/>
            </a:lvl3pPr>
            <a:lvl4pPr marL="901281" indent="-215499">
              <a:defRPr sz="1051"/>
            </a:lvl4pPr>
            <a:lvl5pPr marL="1113207" indent="-211925">
              <a:defRPr sz="1051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330224" y="6350781"/>
            <a:ext cx="11127325" cy="450575"/>
          </a:xfrm>
        </p:spPr>
        <p:txBody>
          <a:bodyPr anchor="b">
            <a:noAutofit/>
          </a:bodyPr>
          <a:lstStyle>
            <a:lvl1pPr marL="0" indent="0" algn="r">
              <a:spcBef>
                <a:spcPts val="151"/>
              </a:spcBef>
              <a:spcAft>
                <a:spcPts val="0"/>
              </a:spcAft>
              <a:buClrTx/>
              <a:buFont typeface="+mj-lt"/>
              <a:buNone/>
              <a:defRPr sz="675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ONFIDENTIAL – NOT FOR EXTERNAL DISTRIBUTION</a:t>
            </a:r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11457553" y="6557925"/>
            <a:ext cx="676031" cy="22043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75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E264653-C4B0-4D90-B468-12AF7B76014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4282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256D79-6D78-4C39-B8F4-F5DD92BCEE6B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457236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0200" y="1389888"/>
            <a:ext cx="11734800" cy="4752594"/>
          </a:xfrm>
        </p:spPr>
        <p:txBody>
          <a:bodyPr/>
          <a:lstStyle>
            <a:lvl2pPr marL="627063" indent="-282575">
              <a:defRPr sz="1800"/>
            </a:lvl2pPr>
            <a:lvl3pPr marL="914400" indent="-287338">
              <a:defRPr sz="1600"/>
            </a:lvl3pPr>
            <a:lvl4pPr marL="1201738" indent="-287338">
              <a:defRPr sz="1400"/>
            </a:lvl4pPr>
            <a:lvl5pPr marL="1484313" indent="-282575"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11457550" y="6557923"/>
            <a:ext cx="676031" cy="22043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264653-C4B0-4D90-B468-12AF7B760148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83782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0200" y="1389888"/>
            <a:ext cx="11734800" cy="4752594"/>
          </a:xfrm>
        </p:spPr>
        <p:txBody>
          <a:bodyPr/>
          <a:lstStyle>
            <a:lvl2pPr marL="627063" indent="-282575">
              <a:defRPr sz="1800"/>
            </a:lvl2pPr>
            <a:lvl3pPr marL="914400" indent="-287338">
              <a:defRPr sz="1600"/>
            </a:lvl3pPr>
            <a:lvl4pPr marL="1201738" indent="-287338">
              <a:defRPr sz="1400"/>
            </a:lvl4pPr>
            <a:lvl5pPr marL="1484313" indent="-282575"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330225" y="6331926"/>
            <a:ext cx="8217600" cy="450574"/>
          </a:xfrm>
        </p:spPr>
        <p:txBody>
          <a:bodyPr anchor="b">
            <a:noAutofit/>
          </a:bodyPr>
          <a:lstStyle>
            <a:lvl1pPr marL="115888" indent="-115888">
              <a:spcBef>
                <a:spcPts val="200"/>
              </a:spcBef>
              <a:spcAft>
                <a:spcPts val="0"/>
              </a:spcAft>
              <a:buClrTx/>
              <a:buFont typeface="+mj-lt"/>
              <a:buAutoNum type="arabicPeriod"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D7BACCF-6E48-4258-AD19-1B50B46BD9EC}"/>
              </a:ext>
            </a:extLst>
          </p:cNvPr>
          <p:cNvSpPr/>
          <p:nvPr userDrawn="1"/>
        </p:nvSpPr>
        <p:spPr>
          <a:xfrm>
            <a:off x="11311467" y="6478210"/>
            <a:ext cx="237066" cy="37979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58343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F2B81087-E45B-4BA7-8838-443C8EB7818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" y="-2682"/>
            <a:ext cx="12192001" cy="10800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5C6EFBCA-5EC1-4218-A557-C0A95387FD92}"/>
              </a:ext>
            </a:extLst>
          </p:cNvPr>
          <p:cNvSpPr/>
          <p:nvPr userDrawn="1"/>
        </p:nvSpPr>
        <p:spPr>
          <a:xfrm>
            <a:off x="1028700" y="6559551"/>
            <a:ext cx="11163299" cy="298450"/>
          </a:xfrm>
          <a:prstGeom prst="rect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5E68150-7FD5-4739-AC12-0BB3B8C39FC7}"/>
              </a:ext>
            </a:extLst>
          </p:cNvPr>
          <p:cNvCxnSpPr/>
          <p:nvPr userDrawn="1"/>
        </p:nvCxnSpPr>
        <p:spPr>
          <a:xfrm>
            <a:off x="3" y="1096680"/>
            <a:ext cx="12191999" cy="0"/>
          </a:xfrm>
          <a:prstGeom prst="line">
            <a:avLst/>
          </a:prstGeom>
          <a:ln w="38100">
            <a:gradFill>
              <a:gsLst>
                <a:gs pos="26000">
                  <a:schemeClr val="accent1"/>
                </a:gs>
                <a:gs pos="100000">
                  <a:schemeClr val="tx1">
                    <a:lumMod val="50000"/>
                    <a:lumOff val="50000"/>
                  </a:schemeClr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0727DA5-40D2-47D6-AA02-215394C81F5C}"/>
              </a:ext>
            </a:extLst>
          </p:cNvPr>
          <p:cNvCxnSpPr>
            <a:cxnSpLocks/>
          </p:cNvCxnSpPr>
          <p:nvPr userDrawn="1"/>
        </p:nvCxnSpPr>
        <p:spPr>
          <a:xfrm>
            <a:off x="11440588" y="6610124"/>
            <a:ext cx="0" cy="197304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4B4D2F36-EDB6-4C9A-B7EF-241C9A7EF237}"/>
              </a:ext>
            </a:extLst>
          </p:cNvPr>
          <p:cNvSpPr txBox="1"/>
          <p:nvPr userDrawn="1"/>
        </p:nvSpPr>
        <p:spPr>
          <a:xfrm>
            <a:off x="11440590" y="6605146"/>
            <a:ext cx="637111" cy="196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buFont typeface="+mj-lt"/>
              <a:buNone/>
            </a:pPr>
            <a:fld id="{7D00C0DF-08D6-4B05-B405-6BF9AE662B49}" type="slidenum">
              <a:rPr lang="en-US" sz="675" smtClean="0">
                <a:solidFill>
                  <a:schemeClr val="bg1"/>
                </a:solidFill>
              </a:rPr>
              <a:pPr algn="r">
                <a:buFont typeface="+mj-lt"/>
                <a:buNone/>
              </a:pPr>
              <a:t>‹#›</a:t>
            </a:fld>
            <a:endParaRPr lang="en-US" sz="675" dirty="0">
              <a:solidFill>
                <a:schemeClr val="bg1"/>
              </a:solidFill>
            </a:endParaRP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867D2940-FC93-4E5B-952D-C80670116DF7}"/>
              </a:ext>
            </a:extLst>
          </p:cNvPr>
          <p:cNvSpPr txBox="1">
            <a:spLocks/>
          </p:cNvSpPr>
          <p:nvPr userDrawn="1"/>
        </p:nvSpPr>
        <p:spPr>
          <a:xfrm>
            <a:off x="8343906" y="6350780"/>
            <a:ext cx="3113643" cy="450574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r" defTabSz="914400" rtl="0" eaLnBrk="1" latinLnBrk="0" hangingPunct="1">
              <a:spcBef>
                <a:spcPts val="200"/>
              </a:spcBef>
              <a:spcAft>
                <a:spcPts val="0"/>
              </a:spcAft>
              <a:buClrTx/>
              <a:buFont typeface="+mj-lt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7388" indent="-284163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–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031875" indent="-28575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543050" indent="-3397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946275" indent="-28575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675" dirty="0">
              <a:solidFill>
                <a:schemeClr val="bg1"/>
              </a:solidFill>
            </a:endParaRPr>
          </a:p>
        </p:txBody>
      </p:sp>
      <p:pic>
        <p:nvPicPr>
          <p:cNvPr id="10" name="Picture 9" descr="Puma Logo high res.png">
            <a:extLst>
              <a:ext uri="{FF2B5EF4-FFF2-40B4-BE49-F238E27FC236}">
                <a16:creationId xmlns:a16="http://schemas.microsoft.com/office/drawing/2014/main" id="{DFCD2CC5-18AF-4CAD-9317-2B4D8CE8703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20" y="6536531"/>
            <a:ext cx="945695" cy="330993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D6082C6D-D2C2-4E19-96C0-59E28F19BD25}"/>
              </a:ext>
            </a:extLst>
          </p:cNvPr>
          <p:cNvSpPr txBox="1">
            <a:spLocks/>
          </p:cNvSpPr>
          <p:nvPr userDrawn="1"/>
        </p:nvSpPr>
        <p:spPr>
          <a:xfrm>
            <a:off x="1416080" y="6357923"/>
            <a:ext cx="3270223" cy="450574"/>
          </a:xfrm>
          <a:prstGeom prst="rect">
            <a:avLst/>
          </a:prstGeom>
        </p:spPr>
        <p:txBody>
          <a:bodyPr lIns="0" tIns="0" rIns="0" bIns="46800" anchor="b">
            <a:noAutofit/>
          </a:bodyPr>
          <a:lstStyle>
            <a:lvl1pPr marL="0" indent="0" algn="r" defTabSz="914400" rtl="0" eaLnBrk="1" latinLnBrk="0" hangingPunct="1">
              <a:spcBef>
                <a:spcPts val="200"/>
              </a:spcBef>
              <a:spcAft>
                <a:spcPts val="0"/>
              </a:spcAft>
              <a:buClrTx/>
              <a:buFont typeface="+mj-lt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7388" indent="-284163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–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031875" indent="-28575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543050" indent="-3397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946275" indent="-28575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50" b="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Copyright 2025 Puma Biotechnology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D271C182-5C79-459F-899F-6E15316156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384883"/>
            <a:ext cx="12192000" cy="569312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ctr"/>
            <a:endParaRPr lang="en-US" sz="2600" b="0" dirty="0">
              <a:solidFill>
                <a:srgbClr val="04617B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18950666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2" y="2"/>
            <a:ext cx="12191996" cy="1937009"/>
          </a:xfrm>
          <a:prstGeom prst="rect">
            <a:avLst/>
          </a:prstGeom>
          <a:gradFill flip="none" rotWithShape="1">
            <a:gsLst>
              <a:gs pos="52000">
                <a:schemeClr val="bg1"/>
              </a:gs>
              <a:gs pos="0">
                <a:schemeClr val="bg1">
                  <a:lumMod val="75000"/>
                </a:schemeClr>
              </a:gs>
              <a:gs pos="100000">
                <a:schemeClr val="bg1"/>
              </a:gs>
            </a:gsLst>
            <a:lin ang="108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>
          <a:xfrm flipH="1">
            <a:off x="2" y="4897804"/>
            <a:ext cx="12191996" cy="1960196"/>
          </a:xfrm>
          <a:prstGeom prst="rect">
            <a:avLst/>
          </a:prstGeom>
          <a:gradFill flip="none" rotWithShape="1">
            <a:gsLst>
              <a:gs pos="52000">
                <a:schemeClr val="bg1"/>
              </a:gs>
              <a:gs pos="0">
                <a:schemeClr val="bg1">
                  <a:lumMod val="75000"/>
                </a:schemeClr>
              </a:gs>
              <a:gs pos="100000">
                <a:schemeClr val="bg1"/>
              </a:gs>
            </a:gsLst>
            <a:lin ang="108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prstClr val="white"/>
              </a:solidFill>
            </a:endParaRP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1" y="1948932"/>
            <a:ext cx="12191999" cy="0"/>
          </a:xfrm>
          <a:prstGeom prst="line">
            <a:avLst/>
          </a:prstGeom>
          <a:ln w="38100">
            <a:gradFill>
              <a:gsLst>
                <a:gs pos="26000">
                  <a:schemeClr val="accent1"/>
                </a:gs>
                <a:gs pos="100000">
                  <a:schemeClr val="tx1">
                    <a:lumMod val="50000"/>
                    <a:lumOff val="50000"/>
                  </a:schemeClr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 userDrawn="1"/>
        </p:nvCxnSpPr>
        <p:spPr>
          <a:xfrm flipH="1">
            <a:off x="3" y="4897805"/>
            <a:ext cx="12191999" cy="0"/>
          </a:xfrm>
          <a:prstGeom prst="line">
            <a:avLst/>
          </a:prstGeom>
          <a:ln w="38100">
            <a:gradFill>
              <a:gsLst>
                <a:gs pos="26000">
                  <a:schemeClr val="accent1"/>
                </a:gs>
                <a:gs pos="100000">
                  <a:schemeClr val="tx1">
                    <a:lumMod val="50000"/>
                    <a:lumOff val="50000"/>
                  </a:schemeClr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A3C2B693-58CA-4262-B793-06BE719782B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9840710" y="5967364"/>
            <a:ext cx="2092599" cy="734244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60B52154-5D6F-491F-95B7-FC02B730C14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7564" y="1936407"/>
            <a:ext cx="10794365" cy="1640509"/>
          </a:xfrm>
          <a:prstGeom prst="rect">
            <a:avLst/>
          </a:prstGeom>
        </p:spPr>
        <p:txBody>
          <a:bodyPr anchor="b">
            <a:normAutofit/>
          </a:bodyPr>
          <a:lstStyle>
            <a:lvl1pPr algn="ctr">
              <a:defRPr sz="225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F6B71AF3-9F25-4829-980C-0747BA054C2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37564" y="3660135"/>
            <a:ext cx="10746717" cy="124358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950">
                <a:solidFill>
                  <a:schemeClr val="bg1">
                    <a:lumMod val="50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97277559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56299035-7029-4AE1-B348-74DACCFE3D56}"/>
              </a:ext>
            </a:extLst>
          </p:cNvPr>
          <p:cNvSpPr/>
          <p:nvPr userDrawn="1"/>
        </p:nvSpPr>
        <p:spPr>
          <a:xfrm>
            <a:off x="2" y="2"/>
            <a:ext cx="12191996" cy="1937009"/>
          </a:xfrm>
          <a:prstGeom prst="rect">
            <a:avLst/>
          </a:prstGeom>
          <a:gradFill flip="none" rotWithShape="1">
            <a:gsLst>
              <a:gs pos="52000">
                <a:schemeClr val="bg1"/>
              </a:gs>
              <a:gs pos="0">
                <a:schemeClr val="bg1">
                  <a:lumMod val="75000"/>
                </a:schemeClr>
              </a:gs>
              <a:gs pos="100000">
                <a:schemeClr val="bg1"/>
              </a:gs>
            </a:gsLst>
            <a:lin ang="108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prstClr val="white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0AA5E47-3A86-4858-831C-D082134C3275}"/>
              </a:ext>
            </a:extLst>
          </p:cNvPr>
          <p:cNvSpPr/>
          <p:nvPr userDrawn="1"/>
        </p:nvSpPr>
        <p:spPr>
          <a:xfrm flipH="1">
            <a:off x="4" y="4909727"/>
            <a:ext cx="12191996" cy="1960196"/>
          </a:xfrm>
          <a:prstGeom prst="rect">
            <a:avLst/>
          </a:prstGeom>
          <a:gradFill flip="none" rotWithShape="1">
            <a:gsLst>
              <a:gs pos="52000">
                <a:schemeClr val="bg1"/>
              </a:gs>
              <a:gs pos="0">
                <a:schemeClr val="bg1">
                  <a:lumMod val="75000"/>
                </a:schemeClr>
              </a:gs>
              <a:gs pos="100000">
                <a:schemeClr val="bg1"/>
              </a:gs>
            </a:gsLst>
            <a:lin ang="108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prstClr val="white"/>
              </a:solidFill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EB1F076-D20B-450A-99CB-770C97416800}"/>
              </a:ext>
            </a:extLst>
          </p:cNvPr>
          <p:cNvCxnSpPr/>
          <p:nvPr userDrawn="1"/>
        </p:nvCxnSpPr>
        <p:spPr>
          <a:xfrm>
            <a:off x="1" y="1948932"/>
            <a:ext cx="12191999" cy="0"/>
          </a:xfrm>
          <a:prstGeom prst="line">
            <a:avLst/>
          </a:prstGeom>
          <a:ln w="38100">
            <a:gradFill>
              <a:gsLst>
                <a:gs pos="26000">
                  <a:schemeClr val="accent1"/>
                </a:gs>
                <a:gs pos="100000">
                  <a:schemeClr val="tx1">
                    <a:lumMod val="50000"/>
                    <a:lumOff val="50000"/>
                  </a:schemeClr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590A593-F800-4F64-9078-095BBD7E4B63}"/>
              </a:ext>
            </a:extLst>
          </p:cNvPr>
          <p:cNvCxnSpPr/>
          <p:nvPr userDrawn="1"/>
        </p:nvCxnSpPr>
        <p:spPr>
          <a:xfrm flipH="1">
            <a:off x="3" y="4897805"/>
            <a:ext cx="12191999" cy="0"/>
          </a:xfrm>
          <a:prstGeom prst="line">
            <a:avLst/>
          </a:prstGeom>
          <a:ln w="38100">
            <a:gradFill>
              <a:gsLst>
                <a:gs pos="26000">
                  <a:schemeClr val="accent1"/>
                </a:gs>
                <a:gs pos="100000">
                  <a:schemeClr val="tx1">
                    <a:lumMod val="50000"/>
                    <a:lumOff val="50000"/>
                  </a:schemeClr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82CCD093-4A7E-479D-B18C-19D5AC54127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9840710" y="5967364"/>
            <a:ext cx="2092599" cy="734244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D1A037C7-0F81-48D5-9300-819667C5BE9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7564" y="1711966"/>
            <a:ext cx="10794365" cy="1640509"/>
          </a:xfrm>
          <a:prstGeom prst="rect">
            <a:avLst/>
          </a:prstGeom>
        </p:spPr>
        <p:txBody>
          <a:bodyPr anchor="b">
            <a:normAutofit/>
          </a:bodyPr>
          <a:lstStyle>
            <a:lvl1pPr algn="ctr">
              <a:defRPr sz="2250" b="1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BA1534E1-1263-43CF-84BF-46F3C534861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37564" y="3435694"/>
            <a:ext cx="10746717" cy="124358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950">
                <a:solidFill>
                  <a:schemeClr val="tx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1730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56299035-7029-4AE1-B348-74DACCFE3D56}"/>
              </a:ext>
            </a:extLst>
          </p:cNvPr>
          <p:cNvSpPr/>
          <p:nvPr userDrawn="1"/>
        </p:nvSpPr>
        <p:spPr>
          <a:xfrm>
            <a:off x="2" y="2"/>
            <a:ext cx="12191996" cy="1937009"/>
          </a:xfrm>
          <a:prstGeom prst="rect">
            <a:avLst/>
          </a:prstGeom>
          <a:gradFill flip="none" rotWithShape="1">
            <a:gsLst>
              <a:gs pos="52000">
                <a:schemeClr val="bg1"/>
              </a:gs>
              <a:gs pos="0">
                <a:schemeClr val="bg1">
                  <a:lumMod val="75000"/>
                </a:schemeClr>
              </a:gs>
              <a:gs pos="100000">
                <a:schemeClr val="bg1"/>
              </a:gs>
            </a:gsLst>
            <a:lin ang="108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prstClr val="white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0AA5E47-3A86-4858-831C-D082134C3275}"/>
              </a:ext>
            </a:extLst>
          </p:cNvPr>
          <p:cNvSpPr/>
          <p:nvPr userDrawn="1"/>
        </p:nvSpPr>
        <p:spPr>
          <a:xfrm flipH="1">
            <a:off x="4" y="4909727"/>
            <a:ext cx="12191996" cy="1960196"/>
          </a:xfrm>
          <a:prstGeom prst="rect">
            <a:avLst/>
          </a:prstGeom>
          <a:gradFill flip="none" rotWithShape="1">
            <a:gsLst>
              <a:gs pos="52000">
                <a:schemeClr val="bg1"/>
              </a:gs>
              <a:gs pos="0">
                <a:schemeClr val="bg1">
                  <a:lumMod val="75000"/>
                </a:schemeClr>
              </a:gs>
              <a:gs pos="100000">
                <a:schemeClr val="bg1"/>
              </a:gs>
            </a:gsLst>
            <a:lin ang="108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prstClr val="white"/>
              </a:solidFill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EB1F076-D20B-450A-99CB-770C97416800}"/>
              </a:ext>
            </a:extLst>
          </p:cNvPr>
          <p:cNvCxnSpPr/>
          <p:nvPr userDrawn="1"/>
        </p:nvCxnSpPr>
        <p:spPr>
          <a:xfrm>
            <a:off x="1" y="1948932"/>
            <a:ext cx="12191999" cy="0"/>
          </a:xfrm>
          <a:prstGeom prst="line">
            <a:avLst/>
          </a:prstGeom>
          <a:ln w="38100">
            <a:gradFill>
              <a:gsLst>
                <a:gs pos="26000">
                  <a:schemeClr val="accent1"/>
                </a:gs>
                <a:gs pos="100000">
                  <a:schemeClr val="tx1">
                    <a:lumMod val="50000"/>
                    <a:lumOff val="50000"/>
                  </a:schemeClr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590A593-F800-4F64-9078-095BBD7E4B63}"/>
              </a:ext>
            </a:extLst>
          </p:cNvPr>
          <p:cNvCxnSpPr/>
          <p:nvPr userDrawn="1"/>
        </p:nvCxnSpPr>
        <p:spPr>
          <a:xfrm flipH="1">
            <a:off x="3" y="4897805"/>
            <a:ext cx="12191999" cy="0"/>
          </a:xfrm>
          <a:prstGeom prst="line">
            <a:avLst/>
          </a:prstGeom>
          <a:ln w="38100">
            <a:gradFill>
              <a:gsLst>
                <a:gs pos="26000">
                  <a:schemeClr val="accent1"/>
                </a:gs>
                <a:gs pos="100000">
                  <a:schemeClr val="tx1">
                    <a:lumMod val="50000"/>
                    <a:lumOff val="50000"/>
                  </a:schemeClr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82CCD093-4A7E-479D-B18C-19D5AC54127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9840710" y="5967364"/>
            <a:ext cx="2092599" cy="734244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0B039736-721C-4DE1-A47A-71450A29B29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7564" y="2917011"/>
            <a:ext cx="10794365" cy="1640509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algn="ctr">
              <a:defRPr sz="2250" b="1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9454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9183" y="0"/>
            <a:ext cx="11748516" cy="10287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330225" y="6331926"/>
            <a:ext cx="8217600" cy="450574"/>
          </a:xfrm>
          <a:prstGeom prst="rect">
            <a:avLst/>
          </a:prstGeom>
        </p:spPr>
        <p:txBody>
          <a:bodyPr anchor="b">
            <a:noAutofit/>
          </a:bodyPr>
          <a:lstStyle>
            <a:lvl1pPr marL="86916" indent="-86916">
              <a:spcBef>
                <a:spcPts val="150"/>
              </a:spcBef>
              <a:spcAft>
                <a:spcPts val="0"/>
              </a:spcAft>
              <a:buClrTx/>
              <a:buFont typeface="+mj-lt"/>
              <a:buAutoNum type="arabicPeriod"/>
              <a:defRPr sz="675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11457551" y="6557925"/>
            <a:ext cx="676031" cy="22043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75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E264653-C4B0-4D90-B468-12AF7B76014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5748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42CD9161-53DA-4052-85B3-30711E3F3F3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1143000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7B6B3A5-9E73-43C4-A4CD-664759B66A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8600" y="6651119"/>
            <a:ext cx="1084155" cy="206883"/>
          </a:xfrm>
        </p:spPr>
        <p:txBody>
          <a:bodyPr/>
          <a:lstStyle/>
          <a:p>
            <a:fld id="{87EF1D6D-86A4-455C-A428-FA08D06F34F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1" y="114302"/>
            <a:ext cx="10055379" cy="919671"/>
          </a:xfrm>
          <a:prstGeom prst="rect">
            <a:avLst/>
          </a:prstGeo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11734800" cy="5399088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8"/>
              </a:spcBef>
              <a:spcAft>
                <a:spcPts val="188"/>
              </a:spcAft>
              <a:buFontTx/>
              <a:buBlip>
                <a:blip r:embed="rId3"/>
              </a:buBlip>
              <a:defRPr sz="1500"/>
            </a:lvl1pPr>
            <a:lvl2pPr>
              <a:spcBef>
                <a:spcPts val="188"/>
              </a:spcBef>
              <a:spcAft>
                <a:spcPts val="188"/>
              </a:spcAft>
              <a:buClr>
                <a:srgbClr val="04617B"/>
              </a:buClr>
              <a:defRPr sz="1500"/>
            </a:lvl2pPr>
            <a:lvl3pPr>
              <a:spcBef>
                <a:spcPts val="188"/>
              </a:spcBef>
              <a:spcAft>
                <a:spcPts val="188"/>
              </a:spcAft>
              <a:defRPr sz="1500"/>
            </a:lvl3pPr>
            <a:lvl4pPr>
              <a:spcBef>
                <a:spcPts val="188"/>
              </a:spcBef>
              <a:spcAft>
                <a:spcPts val="188"/>
              </a:spcAft>
              <a:defRPr sz="1500"/>
            </a:lvl4pPr>
            <a:lvl5pPr>
              <a:spcBef>
                <a:spcPts val="188"/>
              </a:spcBef>
              <a:spcAft>
                <a:spcPts val="188"/>
              </a:spcAft>
              <a:defRPr sz="15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268403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1" y="0"/>
            <a:ext cx="12191996" cy="1937009"/>
          </a:xfrm>
          <a:prstGeom prst="rect">
            <a:avLst/>
          </a:prstGeom>
          <a:gradFill flip="none" rotWithShape="1">
            <a:gsLst>
              <a:gs pos="52000">
                <a:schemeClr val="bg1"/>
              </a:gs>
              <a:gs pos="0">
                <a:schemeClr val="bg1">
                  <a:lumMod val="75000"/>
                </a:schemeClr>
              </a:gs>
              <a:gs pos="100000">
                <a:schemeClr val="bg1"/>
              </a:gs>
            </a:gsLst>
            <a:lin ang="108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 flipH="1">
            <a:off x="1" y="4897804"/>
            <a:ext cx="12191996" cy="1960196"/>
          </a:xfrm>
          <a:prstGeom prst="rect">
            <a:avLst/>
          </a:prstGeom>
          <a:gradFill flip="none" rotWithShape="1">
            <a:gsLst>
              <a:gs pos="52000">
                <a:schemeClr val="bg1"/>
              </a:gs>
              <a:gs pos="0">
                <a:schemeClr val="bg1">
                  <a:lumMod val="75000"/>
                </a:schemeClr>
              </a:gs>
              <a:gs pos="100000">
                <a:schemeClr val="bg1"/>
              </a:gs>
            </a:gsLst>
            <a:lin ang="108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37562" y="1936377"/>
            <a:ext cx="10794365" cy="1640509"/>
          </a:xfrm>
        </p:spPr>
        <p:txBody>
          <a:bodyPr anchor="b">
            <a:normAutofit/>
          </a:bodyPr>
          <a:lstStyle>
            <a:lvl1pPr algn="ctr">
              <a:defRPr sz="30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37563" y="3660106"/>
            <a:ext cx="10746717" cy="1243589"/>
          </a:xfrm>
        </p:spPr>
        <p:txBody>
          <a:bodyPr/>
          <a:lstStyle>
            <a:lvl1pPr marL="0" indent="0" algn="ctr">
              <a:buNone/>
              <a:defRPr sz="26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6" name="Straight Connector 5"/>
          <p:cNvCxnSpPr/>
          <p:nvPr/>
        </p:nvCxnSpPr>
        <p:spPr>
          <a:xfrm>
            <a:off x="-1" y="1948932"/>
            <a:ext cx="12191999" cy="0"/>
          </a:xfrm>
          <a:prstGeom prst="line">
            <a:avLst/>
          </a:prstGeom>
          <a:ln w="38100">
            <a:gradFill>
              <a:gsLst>
                <a:gs pos="26000">
                  <a:schemeClr val="accent1"/>
                </a:gs>
                <a:gs pos="100000">
                  <a:schemeClr val="tx1">
                    <a:lumMod val="50000"/>
                    <a:lumOff val="50000"/>
                  </a:schemeClr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/>
        </p:nvCxnSpPr>
        <p:spPr>
          <a:xfrm flipH="1">
            <a:off x="2" y="4897805"/>
            <a:ext cx="12191999" cy="0"/>
          </a:xfrm>
          <a:prstGeom prst="line">
            <a:avLst/>
          </a:prstGeom>
          <a:ln w="38100">
            <a:gradFill>
              <a:gsLst>
                <a:gs pos="26000">
                  <a:schemeClr val="accent1"/>
                </a:gs>
                <a:gs pos="100000">
                  <a:schemeClr val="tx1">
                    <a:lumMod val="50000"/>
                    <a:lumOff val="50000"/>
                  </a:schemeClr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5780E67E-7DC5-44C4-A42C-79F267DF1DD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9840709" y="5967364"/>
            <a:ext cx="2092598" cy="7342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29945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Bump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2" y="0"/>
            <a:ext cx="1124503" cy="6858000"/>
          </a:xfrm>
          <a:prstGeom prst="rect">
            <a:avLst/>
          </a:prstGeom>
          <a:gradFill flip="none" rotWithShape="1">
            <a:gsLst>
              <a:gs pos="50000">
                <a:schemeClr val="bg1">
                  <a:lumMod val="85000"/>
                </a:schemeClr>
              </a:gs>
              <a:gs pos="0">
                <a:schemeClr val="bg1">
                  <a:lumMod val="65000"/>
                </a:schemeClr>
              </a:gs>
              <a:gs pos="100000">
                <a:schemeClr val="bg1"/>
              </a:gs>
            </a:gsLst>
            <a:lin ang="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314964" y="2259931"/>
            <a:ext cx="9683560" cy="1470025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314965" y="3792058"/>
            <a:ext cx="9694156" cy="1752600"/>
          </a:xfrm>
        </p:spPr>
        <p:txBody>
          <a:bodyPr>
            <a:noAutofit/>
          </a:bodyPr>
          <a:lstStyle>
            <a:lvl1pPr marL="0" indent="0" algn="l">
              <a:buNone/>
              <a:defRPr sz="2400" b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5" name="Straight Connector 4"/>
          <p:cNvCxnSpPr/>
          <p:nvPr/>
        </p:nvCxnSpPr>
        <p:spPr>
          <a:xfrm>
            <a:off x="1124504" y="0"/>
            <a:ext cx="0" cy="6858000"/>
          </a:xfrm>
          <a:prstGeom prst="line">
            <a:avLst/>
          </a:prstGeom>
          <a:ln w="38100">
            <a:gradFill>
              <a:gsLst>
                <a:gs pos="26000">
                  <a:schemeClr val="accent1"/>
                </a:gs>
                <a:gs pos="100000">
                  <a:schemeClr val="tx1">
                    <a:lumMod val="50000"/>
                    <a:lumOff val="50000"/>
                  </a:schemeClr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76093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685099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086112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40765D-D77A-7541-9264-AD6FB7B332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58750" y="6037263"/>
            <a:ext cx="11876088" cy="274637"/>
          </a:xfr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200"/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200"/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1200"/>
            </a:lvl5pPr>
          </a:lstStyle>
          <a:p>
            <a:pPr lvl="0"/>
            <a:r>
              <a:rPr lang="en-US"/>
              <a:t>Footnote.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55575" y="898525"/>
            <a:ext cx="11885613" cy="403225"/>
          </a:xfrm>
        </p:spPr>
        <p:txBody>
          <a:bodyPr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2400" b="1" i="1"/>
            </a:lvl1pPr>
            <a:lvl2pPr marL="0" indent="0">
              <a:spcBef>
                <a:spcPts val="0"/>
              </a:spcBef>
              <a:buNone/>
              <a:defRPr sz="2000" b="1"/>
            </a:lvl2pPr>
            <a:lvl3pPr marL="0" indent="0">
              <a:spcBef>
                <a:spcPts val="0"/>
              </a:spcBef>
              <a:buNone/>
              <a:defRPr sz="2000" b="1"/>
            </a:lvl3pPr>
            <a:lvl4pPr marL="0" indent="0">
              <a:spcBef>
                <a:spcPts val="0"/>
              </a:spcBef>
              <a:buNone/>
              <a:defRPr sz="2000" b="1"/>
            </a:lvl4pPr>
            <a:lvl5pPr marL="0" indent="0">
              <a:spcBef>
                <a:spcPts val="0"/>
              </a:spcBef>
              <a:buNone/>
              <a:defRPr sz="2000" b="1"/>
            </a:lvl5pPr>
          </a:lstStyle>
          <a:p>
            <a:pPr lvl="0"/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170165314"/>
      </p:ext>
    </p:extLst>
  </p:cSld>
  <p:clrMapOvr>
    <a:masterClrMapping/>
  </p:clrMapOvr>
  <p:transition spd="slow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40765D-D77A-7541-9264-AD6FB7B332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58750" y="6037263"/>
            <a:ext cx="11876088" cy="274637"/>
          </a:xfr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200"/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200"/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1200"/>
            </a:lvl5pPr>
          </a:lstStyle>
          <a:p>
            <a:pPr lvl="0"/>
            <a:r>
              <a:rPr lang="en-US"/>
              <a:t>Footnote.</a:t>
            </a:r>
          </a:p>
        </p:txBody>
      </p:sp>
    </p:spTree>
    <p:extLst>
      <p:ext uri="{BB962C8B-B14F-4D97-AF65-F5344CB8AC3E}">
        <p14:creationId xmlns:p14="http://schemas.microsoft.com/office/powerpoint/2010/main" val="555431184"/>
      </p:ext>
    </p:extLst>
  </p:cSld>
  <p:clrMapOvr>
    <a:masterClrMapping/>
  </p:clrMapOvr>
  <p:transition spd="slow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40765D-D77A-7541-9264-AD6FB7B332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58750" y="6037263"/>
            <a:ext cx="11876088" cy="274637"/>
          </a:xfr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200"/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200"/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1200"/>
            </a:lvl5pPr>
          </a:lstStyle>
          <a:p>
            <a:pPr lvl="0"/>
            <a:r>
              <a:rPr lang="en-US"/>
              <a:t>Footnote.</a:t>
            </a:r>
          </a:p>
        </p:txBody>
      </p:sp>
    </p:spTree>
    <p:extLst>
      <p:ext uri="{BB962C8B-B14F-4D97-AF65-F5344CB8AC3E}">
        <p14:creationId xmlns:p14="http://schemas.microsoft.com/office/powerpoint/2010/main" val="2191730568"/>
      </p:ext>
    </p:extLst>
  </p:cSld>
  <p:clrMapOvr>
    <a:masterClrMapping/>
  </p:clrMapOvr>
  <p:transition spd="slow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–referenc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A10C1A0-86E6-4C30-AFD5-93AD401561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9075167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A10C1A0-86E6-4C30-AFD5-93AD401561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C0512D8-C26C-4D2E-AEFA-7C5176F4456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>
              <a:latin typeface="Calibri Regular"/>
              <a:sym typeface="Calibri Regular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1800" y="221900"/>
            <a:ext cx="10515600" cy="914400"/>
          </a:xfrm>
        </p:spPr>
        <p:txBody>
          <a:bodyPr>
            <a:noAutofit/>
          </a:bodyPr>
          <a:lstStyle>
            <a:lvl1pPr>
              <a:defRPr sz="24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1800" y="1499366"/>
            <a:ext cx="10515600" cy="4349749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70C0"/>
                </a:solidFill>
              </a:defRPr>
            </a:lvl1pPr>
          </a:lstStyle>
          <a:p>
            <a:fld id="{448E6C82-8AB4-BD45-B15D-FB06D44F9AA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 hasCustomPrompt="1"/>
          </p:nvPr>
        </p:nvSpPr>
        <p:spPr>
          <a:xfrm>
            <a:off x="431800" y="6420910"/>
            <a:ext cx="9211733" cy="366183"/>
          </a:xfrm>
        </p:spPr>
        <p:txBody>
          <a:bodyPr anchor="ctr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800">
                <a:solidFill>
                  <a:srgbClr val="002060"/>
                </a:solidFill>
              </a:defRPr>
            </a:lvl1pPr>
          </a:lstStyle>
          <a:p>
            <a:pPr lvl="0"/>
            <a:r>
              <a:rPr lang="en-US"/>
              <a:t>[References]</a:t>
            </a:r>
          </a:p>
        </p:txBody>
      </p:sp>
    </p:spTree>
    <p:extLst>
      <p:ext uri="{BB962C8B-B14F-4D97-AF65-F5344CB8AC3E}">
        <p14:creationId xmlns:p14="http://schemas.microsoft.com/office/powerpoint/2010/main" val="15070940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16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29183" y="0"/>
            <a:ext cx="11748516" cy="1028700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0200" y="1353312"/>
            <a:ext cx="11734800" cy="4990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8" name="Straight Connector 7"/>
          <p:cNvCxnSpPr/>
          <p:nvPr/>
        </p:nvCxnSpPr>
        <p:spPr>
          <a:xfrm>
            <a:off x="2" y="1096680"/>
            <a:ext cx="12191999" cy="0"/>
          </a:xfrm>
          <a:prstGeom prst="line">
            <a:avLst/>
          </a:prstGeom>
          <a:ln w="38100">
            <a:gradFill>
              <a:gsLst>
                <a:gs pos="26000">
                  <a:schemeClr val="accent1"/>
                </a:gs>
                <a:gs pos="100000">
                  <a:schemeClr val="tx1">
                    <a:lumMod val="50000"/>
                    <a:lumOff val="50000"/>
                  </a:schemeClr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>
            <a:cxnSpLocks/>
          </p:cNvCxnSpPr>
          <p:nvPr/>
        </p:nvCxnSpPr>
        <p:spPr>
          <a:xfrm>
            <a:off x="11440588" y="6590071"/>
            <a:ext cx="0" cy="197304"/>
          </a:xfrm>
          <a:prstGeom prst="line">
            <a:avLst/>
          </a:prstGeom>
          <a:ln w="6350">
            <a:solidFill>
              <a:schemeClr val="tx1">
                <a:lumMod val="65000"/>
                <a:lumOff val="3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11440589" y="6573307"/>
            <a:ext cx="63711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buFont typeface="+mj-lt"/>
              <a:buNone/>
            </a:pPr>
            <a:fld id="{7D00C0DF-08D6-4B05-B405-6BF9AE662B49}" type="slidenum">
              <a:rPr lang="en-US" sz="900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 algn="r">
                <a:buFont typeface="+mj-lt"/>
                <a:buNone/>
              </a:pPr>
              <a:t>‹#›</a:t>
            </a:fld>
            <a:endParaRPr lang="en-US" sz="90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96989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70" r:id="rId9"/>
    <p:sldLayoutId id="2147483671" r:id="rId10"/>
    <p:sldLayoutId id="2147483675" r:id="rId11"/>
    <p:sldLayoutId id="2147483676" r:id="rId12"/>
    <p:sldLayoutId id="2147483677" r:id="rId13"/>
  </p:sldLayoutIdLst>
  <p:hf sldNum="0"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600" b="1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ts val="1200"/>
        </a:spcBef>
        <a:spcAft>
          <a:spcPts val="0"/>
        </a:spcAft>
        <a:buClr>
          <a:schemeClr val="bg1">
            <a:lumMod val="65000"/>
          </a:schemeClr>
        </a:buClr>
        <a:buFontTx/>
        <a:buBlip>
          <a:blip r:embed="rId15"/>
        </a:buBlip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687388" indent="-284163" algn="l" defTabSz="914400" rtl="0" eaLnBrk="1" latinLnBrk="0" hangingPunct="1">
        <a:spcBef>
          <a:spcPts val="1200"/>
        </a:spcBef>
        <a:spcAft>
          <a:spcPts val="0"/>
        </a:spcAft>
        <a:buClr>
          <a:schemeClr val="bg1">
            <a:lumMod val="65000"/>
          </a:schemeClr>
        </a:buClr>
        <a:buFont typeface="Arial" panose="020B0604020202020204" pitchFamily="34" charset="0"/>
        <a:buChar char="–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031875" indent="-285750" algn="l" defTabSz="914400" rtl="0" eaLnBrk="1" latinLnBrk="0" hangingPunct="1">
        <a:spcBef>
          <a:spcPts val="12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543050" indent="-339725" algn="l" defTabSz="914400" rtl="0" eaLnBrk="1" latinLnBrk="0" hangingPunct="1">
        <a:spcBef>
          <a:spcPts val="1200"/>
        </a:spcBef>
        <a:spcAft>
          <a:spcPts val="0"/>
        </a:spcAft>
        <a:buClr>
          <a:schemeClr val="bg1">
            <a:lumMod val="65000"/>
          </a:schemeClr>
        </a:buClr>
        <a:buFont typeface="Arial" panose="020B0604020202020204" pitchFamily="34" charset="0"/>
        <a:buChar char="–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946275" indent="-285750" algn="l" defTabSz="914400" rtl="0" eaLnBrk="1" latinLnBrk="0" hangingPunct="1">
        <a:spcBef>
          <a:spcPts val="1200"/>
        </a:spcBef>
        <a:spcAft>
          <a:spcPts val="0"/>
        </a:spcAft>
        <a:buClr>
          <a:schemeClr val="bg1">
            <a:lumMod val="65000"/>
          </a:schemeClr>
        </a:buClr>
        <a:buFont typeface="Arial" panose="020B0604020202020204" pitchFamily="34" charset="0"/>
        <a:buChar char="•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341357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</p:sldLayoutIdLst>
  <p:hf hdr="0" ft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1950" b="1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57175" indent="-257175" algn="l" defTabSz="685800" rtl="0" eaLnBrk="1" latinLnBrk="0" hangingPunct="1">
        <a:spcBef>
          <a:spcPts val="900"/>
        </a:spcBef>
        <a:spcAft>
          <a:spcPts val="0"/>
        </a:spcAft>
        <a:buClr>
          <a:schemeClr val="bg1">
            <a:lumMod val="65000"/>
          </a:schemeClr>
        </a:buClr>
        <a:buFontTx/>
        <a:buBlip>
          <a:blip r:embed="rId8"/>
        </a:buBlip>
        <a:defRPr sz="15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15541" indent="-213122" algn="l" defTabSz="685800" rtl="0" eaLnBrk="1" latinLnBrk="0" hangingPunct="1">
        <a:spcBef>
          <a:spcPts val="900"/>
        </a:spcBef>
        <a:spcAft>
          <a:spcPts val="0"/>
        </a:spcAft>
        <a:buClr>
          <a:schemeClr val="bg1">
            <a:lumMod val="65000"/>
          </a:schemeClr>
        </a:buClr>
        <a:buFont typeface="Arial" panose="020B0604020202020204" pitchFamily="34" charset="0"/>
        <a:buChar char="–"/>
        <a:defRPr sz="13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773906" indent="-214313" algn="l" defTabSz="685800" rtl="0" eaLnBrk="1" latinLnBrk="0" hangingPunct="1">
        <a:spcBef>
          <a:spcPts val="9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defRPr sz="13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157288" indent="-254794" algn="l" defTabSz="685800" rtl="0" eaLnBrk="1" latinLnBrk="0" hangingPunct="1">
        <a:spcBef>
          <a:spcPts val="900"/>
        </a:spcBef>
        <a:spcAft>
          <a:spcPts val="0"/>
        </a:spcAft>
        <a:buClr>
          <a:schemeClr val="bg1">
            <a:lumMod val="65000"/>
          </a:schemeClr>
        </a:buClr>
        <a:buFont typeface="Arial" panose="020B0604020202020204" pitchFamily="34" charset="0"/>
        <a:buChar char="–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459706" indent="-214313" algn="l" defTabSz="685800" rtl="0" eaLnBrk="1" latinLnBrk="0" hangingPunct="1">
        <a:spcBef>
          <a:spcPts val="900"/>
        </a:spcBef>
        <a:spcAft>
          <a:spcPts val="0"/>
        </a:spcAft>
        <a:buClr>
          <a:schemeClr val="bg1">
            <a:lumMod val="65000"/>
          </a:schemeClr>
        </a:buClr>
        <a:buFont typeface="Arial" panose="020B0604020202020204" pitchFamily="34" charset="0"/>
        <a:buChar char="•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7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9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1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3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5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7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9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1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3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37563" y="2705100"/>
            <a:ext cx="10794365" cy="548986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 sz="2800" dirty="0">
                <a:solidFill>
                  <a:srgbClr val="04617B"/>
                </a:solidFill>
                <a:latin typeface="+mj-lt"/>
              </a:rPr>
              <a:t>  Puma Biotechnology</a:t>
            </a:r>
          </a:p>
        </p:txBody>
      </p:sp>
      <p:sp>
        <p:nvSpPr>
          <p:cNvPr id="3" name="Subtitle 2"/>
          <p:cNvSpPr txBox="1">
            <a:spLocks/>
          </p:cNvSpPr>
          <p:nvPr/>
        </p:nvSpPr>
        <p:spPr>
          <a:xfrm>
            <a:off x="1" y="3082802"/>
            <a:ext cx="12191999" cy="1100265"/>
          </a:xfrm>
          <a:prstGeom prst="rect">
            <a:avLst/>
          </a:prstGeom>
        </p:spPr>
        <p:txBody>
          <a:bodyPr vert="horz" lIns="68580" tIns="34290" rIns="68580" bIns="34290" rtlCol="0">
            <a:normAutofit fontScale="92500" lnSpcReduction="20000"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Clr>
                <a:srgbClr val="8CB4E3"/>
              </a:buClr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Clr>
                <a:srgbClr val="8CB4E3"/>
              </a:buClr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Clr>
                <a:srgbClr val="8CB4E3"/>
              </a:buClr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Clr>
                <a:srgbClr val="8CB4E3"/>
              </a:buClr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Clr>
                <a:srgbClr val="8CB4E3"/>
              </a:buClr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CB4E3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defTabSz="6858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CB4E3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rst Quarter 2026 Earnings Call  </a:t>
            </a:r>
          </a:p>
          <a:p>
            <a:pPr marL="0" marR="0" lvl="0" indent="0" defTabSz="6858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CB4E3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May 7, 2026</a:t>
            </a:r>
          </a:p>
        </p:txBody>
      </p:sp>
      <p:pic>
        <p:nvPicPr>
          <p:cNvPr id="4" name="Picture 12" descr="bio1">
            <a:extLst>
              <a:ext uri="{FF2B5EF4-FFF2-40B4-BE49-F238E27FC236}">
                <a16:creationId xmlns:a16="http://schemas.microsoft.com/office/drawing/2014/main" id="{FF28FA36-7566-444F-B2D5-F1E0A7D56D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55490" y="157456"/>
            <a:ext cx="1628775" cy="162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4" descr="bio9">
            <a:extLst>
              <a:ext uri="{FF2B5EF4-FFF2-40B4-BE49-F238E27FC236}">
                <a16:creationId xmlns:a16="http://schemas.microsoft.com/office/drawing/2014/main" id="{42896A8C-5F22-49EE-98E1-CE22785C78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37768" y="157456"/>
            <a:ext cx="1618662" cy="1625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6">
            <a:extLst>
              <a:ext uri="{FF2B5EF4-FFF2-40B4-BE49-F238E27FC236}">
                <a16:creationId xmlns:a16="http://schemas.microsoft.com/office/drawing/2014/main" id="{56B0F850-18DA-4F64-992F-4F1597DE3B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" y="157460"/>
            <a:ext cx="4820622" cy="16287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F18A1A0-827A-49EC-B24A-651605EB9B5C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0831" y="157457"/>
            <a:ext cx="1618662" cy="16186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589452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CDC081-7A95-0743-8DBB-238F0D450D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3FE607-2989-493B-FE68-00CF71C032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ALISCA</a:t>
            </a:r>
            <a:r>
              <a:rPr lang="en-US" baseline="30000" dirty="0"/>
              <a:t>TM</a:t>
            </a:r>
            <a:r>
              <a:rPr lang="en-US" dirty="0"/>
              <a:t>-Breast1 Summary of Clinical Benefit</a:t>
            </a:r>
            <a:r>
              <a:rPr lang="en-US" baseline="30000" dirty="0"/>
              <a:t>1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F1C4C2C-B459-F735-E3B6-C17A7E503994}"/>
              </a:ext>
            </a:extLst>
          </p:cNvPr>
          <p:cNvSpPr txBox="1"/>
          <p:nvPr/>
        </p:nvSpPr>
        <p:spPr>
          <a:xfrm>
            <a:off x="231112" y="6220645"/>
            <a:ext cx="1076912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+mn-cs"/>
              </a:rPr>
              <a:t>a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+mn-cs"/>
              </a:rPr>
              <a:t> Best overall response (BOR) is not confirmed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t>1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t>Subjects that have at least one post-baseline scan population: include all subjects in ITT with at least one post-baseline scan, or ended treatment or died before they got a scan.</a:t>
            </a:r>
          </a:p>
        </p:txBody>
      </p:sp>
      <p:graphicFrame>
        <p:nvGraphicFramePr>
          <p:cNvPr id="9" name="Content Placeholder 8">
            <a:extLst>
              <a:ext uri="{FF2B5EF4-FFF2-40B4-BE49-F238E27FC236}">
                <a16:creationId xmlns:a16="http://schemas.microsoft.com/office/drawing/2014/main" id="{AA45B4B5-4BDE-BDE0-F635-CC51CF147D81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609598" y="1141847"/>
          <a:ext cx="11070566" cy="4948402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5784344">
                  <a:extLst>
                    <a:ext uri="{9D8B030D-6E8A-4147-A177-3AD203B41FA5}">
                      <a16:colId xmlns:a16="http://schemas.microsoft.com/office/drawing/2014/main" val="414938785"/>
                    </a:ext>
                  </a:extLst>
                </a:gridCol>
                <a:gridCol w="1762074">
                  <a:extLst>
                    <a:ext uri="{9D8B030D-6E8A-4147-A177-3AD203B41FA5}">
                      <a16:colId xmlns:a16="http://schemas.microsoft.com/office/drawing/2014/main" val="462961338"/>
                    </a:ext>
                  </a:extLst>
                </a:gridCol>
                <a:gridCol w="1762074">
                  <a:extLst>
                    <a:ext uri="{9D8B030D-6E8A-4147-A177-3AD203B41FA5}">
                      <a16:colId xmlns:a16="http://schemas.microsoft.com/office/drawing/2014/main" val="1702769712"/>
                    </a:ext>
                  </a:extLst>
                </a:gridCol>
                <a:gridCol w="1762074">
                  <a:extLst>
                    <a:ext uri="{9D8B030D-6E8A-4147-A177-3AD203B41FA5}">
                      <a16:colId xmlns:a16="http://schemas.microsoft.com/office/drawing/2014/main" val="1570246017"/>
                    </a:ext>
                  </a:extLst>
                </a:gridCol>
              </a:tblGrid>
              <a:tr h="56640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b="1" kern="10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50 mg BID</a:t>
                      </a:r>
                      <a:br>
                        <a:rPr lang="en-US" sz="1400" b="1" kern="10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</a:br>
                      <a:r>
                        <a:rPr lang="en-US" sz="1400" b="1" kern="10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(N=38)</a:t>
                      </a:r>
                      <a:endParaRPr lang="en-US" sz="1400" kern="10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b="1" kern="10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40 mg BID</a:t>
                      </a:r>
                      <a:br>
                        <a:rPr lang="en-US" sz="1400" b="1" kern="10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</a:br>
                      <a:r>
                        <a:rPr lang="en-US" sz="1400" b="1" kern="10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(N=40)</a:t>
                      </a:r>
                      <a:endParaRPr lang="en-US" sz="1400" kern="10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b="1" kern="10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30 mg BID</a:t>
                      </a:r>
                      <a:br>
                        <a:rPr lang="en-US" sz="1400" b="1" kern="10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</a:br>
                      <a:r>
                        <a:rPr lang="en-US" sz="1400" b="1" kern="10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(N=40)</a:t>
                      </a:r>
                      <a:endParaRPr lang="en-US" sz="1400" kern="10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3460929437"/>
                  </a:ext>
                </a:extLst>
              </a:tr>
              <a:tr h="289378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444839794"/>
                  </a:ext>
                </a:extLst>
              </a:tr>
              <a:tr h="289378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Best overall response</a:t>
                      </a:r>
                      <a:r>
                        <a:rPr lang="en-US" sz="1400" kern="100" baseline="300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a</a:t>
                      </a: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- n (%)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 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 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 </a:t>
                      </a: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2703728214"/>
                  </a:ext>
                </a:extLst>
              </a:tr>
              <a:tr h="289378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  Complete response (CR)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0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0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0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3443619271"/>
                  </a:ext>
                </a:extLst>
              </a:tr>
              <a:tr h="289378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  Partial response (PR)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7 (18.4)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8 (20.0)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2 (5.0)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574299306"/>
                  </a:ext>
                </a:extLst>
              </a:tr>
              <a:tr h="289378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  Stable disease (SD)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6 (42.1)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22 (55.0)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5 (37.5)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2811805672"/>
                  </a:ext>
                </a:extLst>
              </a:tr>
              <a:tr h="289378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  Non-CR/Non-PD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0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 (2.5)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0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766016846"/>
                  </a:ext>
                </a:extLst>
              </a:tr>
              <a:tr h="289378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  Disease progression (PD)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4 (36.8)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8 (20.0)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21 (52.5)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2025771416"/>
                  </a:ext>
                </a:extLst>
              </a:tr>
              <a:tr h="289378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  Not evaluable (NE)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0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0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0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3308932454"/>
                  </a:ext>
                </a:extLst>
              </a:tr>
              <a:tr h="299711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  Unavailable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 (2.6)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 (2.5)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2 (5.0)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3237278224"/>
                  </a:ext>
                </a:extLst>
              </a:tr>
              <a:tr h="299711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endParaRPr lang="en-US" sz="1400" kern="10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endParaRPr lang="en-US" sz="1400" kern="10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endParaRPr lang="en-US" sz="1400" kern="10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731554962"/>
                  </a:ext>
                </a:extLst>
              </a:tr>
              <a:tr h="299711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Clinical benefit - n (%)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 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 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 </a:t>
                      </a: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1489336134"/>
                  </a:ext>
                </a:extLst>
              </a:tr>
              <a:tr h="289378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  Confirmed complete response (CR)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0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0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0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944862671"/>
                  </a:ext>
                </a:extLst>
              </a:tr>
              <a:tr h="289378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  Confirmed partial response (PR)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4 (10.5)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5 (12.5)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 (2.5)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3911837536"/>
                  </a:ext>
                </a:extLst>
              </a:tr>
              <a:tr h="289378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  Stable Disease (SD) ≥ 24 weeks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9 (23.7)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8 (20.0)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6 (15.0)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4122307000"/>
                  </a:ext>
                </a:extLst>
              </a:tr>
              <a:tr h="299711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 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 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 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 </a:t>
                      </a: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302794865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1081067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AEA4CF-2A16-BDF9-035D-F936F0AD07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ALISCA</a:t>
            </a:r>
            <a:r>
              <a:rPr lang="en-US" baseline="30000" dirty="0"/>
              <a:t>TM</a:t>
            </a:r>
            <a:r>
              <a:rPr lang="en-US" dirty="0"/>
              <a:t>-Breast1 PFS – ITT populatio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754CE16-4D98-0608-16E5-611979F646F8}"/>
              </a:ext>
            </a:extLst>
          </p:cNvPr>
          <p:cNvSpPr txBox="1"/>
          <p:nvPr/>
        </p:nvSpPr>
        <p:spPr>
          <a:xfrm>
            <a:off x="4692931" y="1250479"/>
            <a:ext cx="3390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gression Free Survival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E9D4A77-642A-B3B7-E0C5-68EE0FBA27E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76221" y="1619811"/>
            <a:ext cx="6624320" cy="4968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560150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A4BC6EA0-3FA0-E99D-C790-A509B2B77F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56136" y="2227273"/>
            <a:ext cx="9683560" cy="1470025"/>
          </a:xfrm>
        </p:spPr>
        <p:txBody>
          <a:bodyPr/>
          <a:lstStyle/>
          <a:p>
            <a:r>
              <a:rPr lang="en-US"/>
              <a:t>Biomarker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A77B7B4D-241D-BD70-7A1E-8401A98099F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314965" y="3792058"/>
            <a:ext cx="9694156" cy="17526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163058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66F8A5-E0E6-F94A-DF21-1C0BAD9ED2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96B38F-B7FA-282D-A032-32DC99AF31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ALISCA</a:t>
            </a:r>
            <a:r>
              <a:rPr lang="en-US" baseline="30000" dirty="0"/>
              <a:t>TM</a:t>
            </a:r>
            <a:r>
              <a:rPr lang="en-US" dirty="0"/>
              <a:t>-Breast1 PFS </a:t>
            </a:r>
            <a:r>
              <a:rPr lang="en-US" i="1" dirty="0"/>
              <a:t>MYC</a:t>
            </a:r>
            <a:r>
              <a:rPr lang="en-US" dirty="0"/>
              <a:t> Copy Number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1818B95-FD59-CDDA-AEC9-2694EDE2530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84763" y="1841590"/>
            <a:ext cx="6096000" cy="457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406824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8B8D29-7BED-05ED-DE4C-0766699249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715E06-C26C-EE5D-0D27-1B2D62A435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ALISCA</a:t>
            </a:r>
            <a:r>
              <a:rPr lang="en-US" baseline="30000" dirty="0"/>
              <a:t>TM</a:t>
            </a:r>
            <a:r>
              <a:rPr lang="en-US" dirty="0"/>
              <a:t>-Breast1 PFS by c-</a:t>
            </a:r>
            <a:r>
              <a:rPr lang="en-US" dirty="0" err="1"/>
              <a:t>Myc</a:t>
            </a:r>
            <a:r>
              <a:rPr lang="en-US" dirty="0"/>
              <a:t> % Positive Cells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32CB58B9-0C27-D414-888B-21722312D9A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3149600" y="1562100"/>
            <a:ext cx="6461760" cy="4846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977997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125F2A-B4B3-9255-687B-B99560A9A1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B4D386-759A-4DD6-8888-9D3A95C35E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 ALISCA</a:t>
            </a:r>
            <a:r>
              <a:rPr lang="en-US" baseline="30000" dirty="0"/>
              <a:t>TM</a:t>
            </a:r>
            <a:r>
              <a:rPr lang="en-US" dirty="0"/>
              <a:t>-Breast1 PFS by c-</a:t>
            </a:r>
            <a:r>
              <a:rPr lang="en-US" dirty="0" err="1"/>
              <a:t>Myc</a:t>
            </a:r>
            <a:r>
              <a:rPr lang="en-US" dirty="0"/>
              <a:t> % Positive Cells by Treatment Group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40FE492-0A53-EDD4-90F9-DE73006BEDA9}"/>
              </a:ext>
            </a:extLst>
          </p:cNvPr>
          <p:cNvSpPr txBox="1"/>
          <p:nvPr/>
        </p:nvSpPr>
        <p:spPr>
          <a:xfrm>
            <a:off x="1292795" y="1302305"/>
            <a:ext cx="3390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0mg BID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C0EFD55-65B2-5248-FBAF-132C7E27770B}"/>
              </a:ext>
            </a:extLst>
          </p:cNvPr>
          <p:cNvSpPr txBox="1"/>
          <p:nvPr/>
        </p:nvSpPr>
        <p:spPr>
          <a:xfrm>
            <a:off x="7322567" y="1302305"/>
            <a:ext cx="3390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0mg BID</a:t>
            </a:r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2D48B77C-5530-83C2-2DB3-B27976BD5B1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329183" y="1916668"/>
            <a:ext cx="5689600" cy="42672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80A19D2-EBB9-7B64-3CF6-305C20FC106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73217" y="1916668"/>
            <a:ext cx="5689600" cy="426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240149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F11DA8-8160-FD49-D612-1D47CC194B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3BF5C8-0C20-2903-7BE8-7966037DCF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ALISCA</a:t>
            </a:r>
            <a:r>
              <a:rPr lang="en-US" baseline="30000" dirty="0"/>
              <a:t>TM</a:t>
            </a:r>
            <a:r>
              <a:rPr lang="en-US" dirty="0"/>
              <a:t>-Breast1 PFS </a:t>
            </a:r>
            <a:r>
              <a:rPr lang="en-US" i="1" dirty="0"/>
              <a:t>ESR1</a:t>
            </a:r>
            <a:r>
              <a:rPr lang="en-US" dirty="0"/>
              <a:t> Mutation Statu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0097A17-D56F-2A3E-25C9-5CDD28B84E5D}"/>
              </a:ext>
            </a:extLst>
          </p:cNvPr>
          <p:cNvSpPr txBox="1"/>
          <p:nvPr/>
        </p:nvSpPr>
        <p:spPr>
          <a:xfrm>
            <a:off x="1122513" y="1543273"/>
            <a:ext cx="3390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tDNA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819DD27-7960-BE8E-374D-3EA71DF188B5}"/>
              </a:ext>
            </a:extLst>
          </p:cNvPr>
          <p:cNvSpPr txBox="1"/>
          <p:nvPr/>
        </p:nvSpPr>
        <p:spPr>
          <a:xfrm>
            <a:off x="7678588" y="1538546"/>
            <a:ext cx="3390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issu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E65F556-75E6-F35F-07E7-098950B0FAA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0688" y="2158692"/>
            <a:ext cx="5689600" cy="42672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8DD63393-8F15-CC87-0F7C-C91A0171F3B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01679" y="2142220"/>
            <a:ext cx="5689600" cy="426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292246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D6219A-5D93-566E-8725-F6349331D4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B5BBD6-7570-78C1-78E6-36878C8F63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ALISCA</a:t>
            </a:r>
            <a:r>
              <a:rPr lang="en-US" baseline="30000" dirty="0"/>
              <a:t>TM</a:t>
            </a:r>
            <a:r>
              <a:rPr lang="en-US" dirty="0"/>
              <a:t>-Breast1 PFS by </a:t>
            </a:r>
            <a:r>
              <a:rPr lang="en-US" i="1" dirty="0"/>
              <a:t>ESR1 </a:t>
            </a:r>
            <a:r>
              <a:rPr lang="en-US" dirty="0"/>
              <a:t>Mutation Status by Treatment Group –  ctDNA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4DD0160-12AB-E11B-9B27-FB2A54B6347C}"/>
              </a:ext>
            </a:extLst>
          </p:cNvPr>
          <p:cNvSpPr txBox="1"/>
          <p:nvPr/>
        </p:nvSpPr>
        <p:spPr>
          <a:xfrm>
            <a:off x="1272730" y="1442139"/>
            <a:ext cx="3390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0mg BID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E0A6544-D823-C692-B638-5882FAD7315A}"/>
              </a:ext>
            </a:extLst>
          </p:cNvPr>
          <p:cNvSpPr txBox="1"/>
          <p:nvPr/>
        </p:nvSpPr>
        <p:spPr>
          <a:xfrm>
            <a:off x="7236142" y="1453385"/>
            <a:ext cx="3390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0mg BID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19618F9-C2D6-6B10-791D-D94CDD8F9AD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1967" y="2140607"/>
            <a:ext cx="5689600" cy="42672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156C5D3-2186-3A43-4A02-A625C9FEE7E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73762" y="2140607"/>
            <a:ext cx="5689600" cy="426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302390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B2516F-F9AF-34D2-3CD8-C3E8B24595F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6C0435-CDD6-C137-F5C5-23942E40A8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ALISCA</a:t>
            </a:r>
            <a:r>
              <a:rPr lang="en-US" baseline="30000" dirty="0"/>
              <a:t>TM</a:t>
            </a:r>
            <a:r>
              <a:rPr lang="en-US" dirty="0"/>
              <a:t>-Breast1 PFS by </a:t>
            </a:r>
            <a:r>
              <a:rPr lang="en-US" i="1" dirty="0"/>
              <a:t>ESR1 </a:t>
            </a:r>
            <a:r>
              <a:rPr lang="en-US" dirty="0"/>
              <a:t>Mutation Status by Treatment Group –  Tissu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8478D32-FE6C-A22E-74FB-48931820E6FE}"/>
              </a:ext>
            </a:extLst>
          </p:cNvPr>
          <p:cNvSpPr txBox="1"/>
          <p:nvPr/>
        </p:nvSpPr>
        <p:spPr>
          <a:xfrm>
            <a:off x="1215736" y="1312872"/>
            <a:ext cx="3390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0mg BID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E170CCE-E828-732C-6C9C-27EC414F1CAF}"/>
              </a:ext>
            </a:extLst>
          </p:cNvPr>
          <p:cNvSpPr txBox="1"/>
          <p:nvPr/>
        </p:nvSpPr>
        <p:spPr>
          <a:xfrm>
            <a:off x="7352791" y="1312872"/>
            <a:ext cx="3390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0mg BID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6A8CC2E-2F6D-9341-6AD3-8815DC928CE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9183" y="1966376"/>
            <a:ext cx="5689600" cy="42672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38BBD0B-7B84-B812-125B-BB81499B5CB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03441" y="1966376"/>
            <a:ext cx="5689600" cy="426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982444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17704D-17A4-AC8E-0038-DD3557841B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D6FC47-7771-CB0A-6470-BEF9FE6A0E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ALISCA</a:t>
            </a:r>
            <a:r>
              <a:rPr lang="en-US" baseline="30000" dirty="0"/>
              <a:t>TM</a:t>
            </a:r>
            <a:r>
              <a:rPr lang="en-US" dirty="0"/>
              <a:t>-Breast1 PFS </a:t>
            </a:r>
            <a:r>
              <a:rPr lang="en-US" i="1" dirty="0"/>
              <a:t>PIK3CA</a:t>
            </a:r>
            <a:r>
              <a:rPr lang="en-US" dirty="0"/>
              <a:t> Mutation Status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5FF503C-323A-E719-86F2-BEE43864051F}"/>
              </a:ext>
            </a:extLst>
          </p:cNvPr>
          <p:cNvSpPr txBox="1"/>
          <p:nvPr/>
        </p:nvSpPr>
        <p:spPr>
          <a:xfrm>
            <a:off x="1157478" y="1529540"/>
            <a:ext cx="3390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tDNA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D67FD9E-50F9-5DCB-C936-4D8CD99B34C2}"/>
              </a:ext>
            </a:extLst>
          </p:cNvPr>
          <p:cNvSpPr txBox="1"/>
          <p:nvPr/>
        </p:nvSpPr>
        <p:spPr>
          <a:xfrm>
            <a:off x="7843466" y="1433881"/>
            <a:ext cx="3390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issu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6615269-2B91-7A4B-224E-EBA520A8DDB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0688" y="2158484"/>
            <a:ext cx="5689600" cy="42672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4E58FEC-8F13-5028-A2AF-85CD37A1AEC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02400" y="2158484"/>
            <a:ext cx="5689600" cy="426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73877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160E3F7-8AB6-0461-2FC5-4CCA98581F6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ALISCA</a:t>
            </a:r>
            <a:r>
              <a:rPr lang="en-US" baseline="30000" dirty="0"/>
              <a:t>TM</a:t>
            </a:r>
            <a:r>
              <a:rPr lang="en-US" dirty="0"/>
              <a:t>-Breast1 (PUMA-ALI-1201)</a:t>
            </a:r>
            <a:br>
              <a:rPr lang="en-US" dirty="0"/>
            </a:br>
            <a:r>
              <a:rPr lang="en-US" dirty="0"/>
              <a:t>Interim Analysis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1322492F-DBF5-B101-B5D9-51339998D9F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37563" y="3429000"/>
            <a:ext cx="10746717" cy="1474695"/>
          </a:xfrm>
        </p:spPr>
        <p:txBody>
          <a:bodyPr/>
          <a:lstStyle/>
          <a:p>
            <a:endParaRPr lang="en-US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</a:pPr>
            <a:r>
              <a:rPr lang="en-US" dirty="0">
                <a:solidFill>
                  <a:schemeClr val="tx1"/>
                </a:solidFill>
              </a:rPr>
              <a:t>May 7, 2026</a:t>
            </a:r>
          </a:p>
        </p:txBody>
      </p:sp>
    </p:spTree>
    <p:extLst>
      <p:ext uri="{BB962C8B-B14F-4D97-AF65-F5344CB8AC3E}">
        <p14:creationId xmlns:p14="http://schemas.microsoft.com/office/powerpoint/2010/main" val="52753905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24EB54-C56D-DD89-67E8-D0E1B3D0AF5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24CEF8-D1A6-C0B2-13E1-DA66E1381D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ALISCA</a:t>
            </a:r>
            <a:r>
              <a:rPr lang="en-US" baseline="30000" dirty="0"/>
              <a:t>TM</a:t>
            </a:r>
            <a:r>
              <a:rPr lang="en-US" dirty="0"/>
              <a:t>-Breast1 PFS by </a:t>
            </a:r>
            <a:r>
              <a:rPr lang="en-US" i="1" dirty="0"/>
              <a:t>PIK3CA</a:t>
            </a:r>
            <a:r>
              <a:rPr lang="en-US" dirty="0"/>
              <a:t> Mutation Status by Treatment Group –  ctDNA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A9B4523-CA09-5392-DC14-D7AD3AA20EDA}"/>
              </a:ext>
            </a:extLst>
          </p:cNvPr>
          <p:cNvSpPr txBox="1"/>
          <p:nvPr/>
        </p:nvSpPr>
        <p:spPr>
          <a:xfrm>
            <a:off x="1140060" y="1362197"/>
            <a:ext cx="33909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0mg BID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216E122-8322-1C4C-2DD5-C33BD2F170B6}"/>
              </a:ext>
            </a:extLst>
          </p:cNvPr>
          <p:cNvSpPr txBox="1"/>
          <p:nvPr/>
        </p:nvSpPr>
        <p:spPr>
          <a:xfrm>
            <a:off x="7518167" y="1362197"/>
            <a:ext cx="33909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0mg BID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CD4EAA6-C2E2-684C-08B9-2B8313D88D6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4312" y="2034248"/>
            <a:ext cx="5689600" cy="42672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4661ED5-2A04-99BF-5437-8A81899E8CC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03441" y="2034248"/>
            <a:ext cx="5689600" cy="426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184285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7C9E1B-4CE1-AF71-5A2D-3BEB22E39D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ALISCA</a:t>
            </a:r>
            <a:r>
              <a:rPr lang="en-US" baseline="30000" dirty="0"/>
              <a:t>TM</a:t>
            </a:r>
            <a:r>
              <a:rPr lang="en-US" dirty="0"/>
              <a:t>-Breast1 PFS Patients with </a:t>
            </a:r>
            <a:r>
              <a:rPr lang="en-US" i="1" dirty="0"/>
              <a:t>PIK3CA</a:t>
            </a:r>
            <a:r>
              <a:rPr lang="en-US" dirty="0"/>
              <a:t> Wild type by </a:t>
            </a:r>
            <a:br>
              <a:rPr lang="en-US" dirty="0"/>
            </a:br>
            <a:r>
              <a:rPr lang="en-US" i="1" dirty="0"/>
              <a:t>ESR1</a:t>
            </a:r>
            <a:r>
              <a:rPr lang="en-US" dirty="0"/>
              <a:t> Mutation Status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C3D5F4B-453C-0B06-042C-F23D0B8E422C}"/>
              </a:ext>
            </a:extLst>
          </p:cNvPr>
          <p:cNvSpPr txBox="1"/>
          <p:nvPr/>
        </p:nvSpPr>
        <p:spPr>
          <a:xfrm>
            <a:off x="8853268" y="1503036"/>
            <a:ext cx="83016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issu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DEF6383-B0D2-0835-9128-C1E9F7155AFC}"/>
              </a:ext>
            </a:extLst>
          </p:cNvPr>
          <p:cNvSpPr txBox="1"/>
          <p:nvPr/>
        </p:nvSpPr>
        <p:spPr>
          <a:xfrm>
            <a:off x="1686495" y="1503036"/>
            <a:ext cx="33909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tDNA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6A04948-2823-49A8-A7F3-BD67749498E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841590"/>
            <a:ext cx="6096000" cy="4572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714BC32-B384-B167-13F1-B7A59622BA5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6000" y="1916668"/>
            <a:ext cx="6096000" cy="457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891007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7D13E7-1D7F-6661-E3F4-5A40EC02BF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95AD8B-82AA-CB62-0AFE-45DF3DEDB4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028700"/>
          </a:xfrm>
        </p:spPr>
        <p:txBody>
          <a:bodyPr/>
          <a:lstStyle/>
          <a:p>
            <a:pPr algn="ctr"/>
            <a:r>
              <a:rPr lang="en-US" dirty="0"/>
              <a:t>ALISCA</a:t>
            </a:r>
            <a:r>
              <a:rPr lang="en-US" baseline="30000" dirty="0"/>
              <a:t>TM</a:t>
            </a:r>
            <a:r>
              <a:rPr lang="en-US" dirty="0"/>
              <a:t>-Breast1 PFS Patients with </a:t>
            </a:r>
            <a:r>
              <a:rPr lang="en-US" i="1" dirty="0"/>
              <a:t>PIK3CA</a:t>
            </a:r>
            <a:r>
              <a:rPr lang="en-US" dirty="0"/>
              <a:t> Wild type by </a:t>
            </a:r>
            <a:br>
              <a:rPr lang="en-US" dirty="0"/>
            </a:br>
            <a:r>
              <a:rPr lang="en-US" i="1" dirty="0"/>
              <a:t>ESR1</a:t>
            </a:r>
            <a:r>
              <a:rPr lang="en-US" dirty="0"/>
              <a:t> Mutation Status by Treatment Group – ctDNA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BF518D3-9A71-4FDF-A9D3-890B11F7D403}"/>
              </a:ext>
            </a:extLst>
          </p:cNvPr>
          <p:cNvSpPr txBox="1"/>
          <p:nvPr/>
        </p:nvSpPr>
        <p:spPr>
          <a:xfrm>
            <a:off x="1172718" y="1493892"/>
            <a:ext cx="3390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0mg BID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054D0FB-5BD3-568D-1312-411F0C8C5A43}"/>
              </a:ext>
            </a:extLst>
          </p:cNvPr>
          <p:cNvSpPr txBox="1"/>
          <p:nvPr/>
        </p:nvSpPr>
        <p:spPr>
          <a:xfrm>
            <a:off x="7444470" y="1514028"/>
            <a:ext cx="3390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0mg BID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96B64EB-2CDB-FBDA-1EBD-27326F255BD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0688" y="2114758"/>
            <a:ext cx="5689600" cy="42672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391D315-D2AF-50C6-02AE-F349B5EFDCC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73761" y="2114758"/>
            <a:ext cx="5689600" cy="426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263666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D530E8-8522-EF2C-E046-D9D4FE46F7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D79C5B-656A-F1B1-D723-35C807F8CD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ALISCA</a:t>
            </a:r>
            <a:r>
              <a:rPr lang="en-US" baseline="30000" dirty="0"/>
              <a:t>TM</a:t>
            </a:r>
            <a:r>
              <a:rPr lang="en-US" dirty="0"/>
              <a:t>-Breast1 PFS Patients with </a:t>
            </a:r>
            <a:r>
              <a:rPr lang="en-US" i="1" dirty="0"/>
              <a:t>PIK3CA</a:t>
            </a:r>
            <a:r>
              <a:rPr lang="en-US" dirty="0"/>
              <a:t> Wild type by </a:t>
            </a:r>
            <a:br>
              <a:rPr lang="en-US" dirty="0"/>
            </a:br>
            <a:r>
              <a:rPr lang="en-US" i="1" dirty="0"/>
              <a:t>ESR1</a:t>
            </a:r>
            <a:r>
              <a:rPr lang="en-US" dirty="0"/>
              <a:t> Mutation Status by Treatment Group – Tissu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EC7CBE1-AD65-EC01-1BEF-110F61F39528}"/>
              </a:ext>
            </a:extLst>
          </p:cNvPr>
          <p:cNvSpPr txBox="1"/>
          <p:nvPr/>
        </p:nvSpPr>
        <p:spPr>
          <a:xfrm>
            <a:off x="1333779" y="1476007"/>
            <a:ext cx="3390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0mg BID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BEBF8B5-4AFA-852A-F9D4-E564A0FFD60F}"/>
              </a:ext>
            </a:extLst>
          </p:cNvPr>
          <p:cNvSpPr txBox="1"/>
          <p:nvPr/>
        </p:nvSpPr>
        <p:spPr>
          <a:xfrm>
            <a:off x="7629524" y="1476007"/>
            <a:ext cx="3390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0mg BID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51CEBF6-79C3-1C4D-0FCA-7E1FA65CAFA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2100" y="2158484"/>
            <a:ext cx="5689600" cy="42672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3594DD91-596E-288A-CD15-1A046EBFDF7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81700" y="2158484"/>
            <a:ext cx="5689600" cy="426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045342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772842-0E6F-3EE7-9B56-11C2F7FDC4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4F37E8-CB82-4365-A573-C452B85BBA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ALISCA</a:t>
            </a:r>
            <a:r>
              <a:rPr lang="en-US" baseline="30000" dirty="0"/>
              <a:t>TM</a:t>
            </a:r>
            <a:r>
              <a:rPr lang="en-US" dirty="0"/>
              <a:t>-Breast1 Patients with ESR1 mut and PIK3CA WT – </a:t>
            </a:r>
            <a:br>
              <a:rPr lang="en-US" dirty="0"/>
            </a:br>
            <a:r>
              <a:rPr lang="en-US" dirty="0"/>
              <a:t>Summary of FFPE tissue sample category and c-</a:t>
            </a:r>
            <a:r>
              <a:rPr lang="en-US" dirty="0" err="1"/>
              <a:t>Myc</a:t>
            </a:r>
            <a:r>
              <a:rPr lang="en-US" dirty="0"/>
              <a:t> positive cells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AB2B9C08-BC2C-FABC-BE46-980443234BBC}"/>
              </a:ext>
            </a:extLst>
          </p:cNvPr>
          <p:cNvGraphicFramePr>
            <a:graphicFrameLocks noGrp="1"/>
          </p:cNvGraphicFramePr>
          <p:nvPr/>
        </p:nvGraphicFramePr>
        <p:xfrm>
          <a:off x="576072" y="1471423"/>
          <a:ext cx="10972798" cy="2980822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3125590">
                  <a:extLst>
                    <a:ext uri="{9D8B030D-6E8A-4147-A177-3AD203B41FA5}">
                      <a16:colId xmlns:a16="http://schemas.microsoft.com/office/drawing/2014/main" val="513314596"/>
                    </a:ext>
                  </a:extLst>
                </a:gridCol>
                <a:gridCol w="1307868">
                  <a:extLst>
                    <a:ext uri="{9D8B030D-6E8A-4147-A177-3AD203B41FA5}">
                      <a16:colId xmlns:a16="http://schemas.microsoft.com/office/drawing/2014/main" val="1241140721"/>
                    </a:ext>
                  </a:extLst>
                </a:gridCol>
                <a:gridCol w="1307868">
                  <a:extLst>
                    <a:ext uri="{9D8B030D-6E8A-4147-A177-3AD203B41FA5}">
                      <a16:colId xmlns:a16="http://schemas.microsoft.com/office/drawing/2014/main" val="1903856004"/>
                    </a:ext>
                  </a:extLst>
                </a:gridCol>
                <a:gridCol w="1307868">
                  <a:extLst>
                    <a:ext uri="{9D8B030D-6E8A-4147-A177-3AD203B41FA5}">
                      <a16:colId xmlns:a16="http://schemas.microsoft.com/office/drawing/2014/main" val="1050475940"/>
                    </a:ext>
                  </a:extLst>
                </a:gridCol>
                <a:gridCol w="1307868">
                  <a:extLst>
                    <a:ext uri="{9D8B030D-6E8A-4147-A177-3AD203B41FA5}">
                      <a16:colId xmlns:a16="http://schemas.microsoft.com/office/drawing/2014/main" val="935829348"/>
                    </a:ext>
                  </a:extLst>
                </a:gridCol>
                <a:gridCol w="1307868">
                  <a:extLst>
                    <a:ext uri="{9D8B030D-6E8A-4147-A177-3AD203B41FA5}">
                      <a16:colId xmlns:a16="http://schemas.microsoft.com/office/drawing/2014/main" val="3815819229"/>
                    </a:ext>
                  </a:extLst>
                </a:gridCol>
                <a:gridCol w="1307868">
                  <a:extLst>
                    <a:ext uri="{9D8B030D-6E8A-4147-A177-3AD203B41FA5}">
                      <a16:colId xmlns:a16="http://schemas.microsoft.com/office/drawing/2014/main" val="2459870102"/>
                    </a:ext>
                  </a:extLst>
                </a:gridCol>
              </a:tblGrid>
              <a:tr h="457200">
                <a:tc>
                  <a:txBody>
                    <a:bodyPr/>
                    <a:lstStyle/>
                    <a:p>
                      <a:endParaRPr lang="en-US" sz="140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b="1" kern="10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PIK3CA Wild</a:t>
                      </a:r>
                      <a:br>
                        <a:rPr lang="en-US" sz="1400" b="1" kern="10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</a:br>
                      <a:r>
                        <a:rPr lang="en-US" sz="1400" b="1" kern="10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(N=42)</a:t>
                      </a:r>
                      <a:endParaRPr lang="en-US" sz="1400" kern="10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b="1" kern="10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ESR1 Mutant</a:t>
                      </a:r>
                      <a:br>
                        <a:rPr lang="en-US" sz="1400" b="1" kern="10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</a:br>
                      <a:r>
                        <a:rPr lang="en-US" sz="1400" b="1" kern="10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(N=24)</a:t>
                      </a:r>
                      <a:endParaRPr lang="en-US" sz="1400" kern="10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b="1" kern="10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PIK3CA Wild and ESR1 Mutant</a:t>
                      </a:r>
                      <a:br>
                        <a:rPr lang="en-US" sz="1400" b="1" kern="10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</a:br>
                      <a:r>
                        <a:rPr lang="en-US" sz="1400" b="1" kern="10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(N=17)</a:t>
                      </a:r>
                      <a:endParaRPr lang="en-US" sz="1400" kern="10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b="1" kern="10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PIK3CA Wild</a:t>
                      </a:r>
                      <a:br>
                        <a:rPr lang="en-US" sz="1400" b="1" kern="10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</a:br>
                      <a:r>
                        <a:rPr lang="en-US" sz="1400" b="1" kern="10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(N=76)</a:t>
                      </a:r>
                      <a:endParaRPr lang="en-US" sz="1400" kern="10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b="1" kern="10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ESR1 Mutant</a:t>
                      </a:r>
                      <a:br>
                        <a:rPr lang="en-US" sz="1400" b="1" kern="10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</a:br>
                      <a:r>
                        <a:rPr lang="en-US" sz="1400" b="1" kern="10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(N=59)</a:t>
                      </a:r>
                      <a:endParaRPr lang="en-US" sz="1400" kern="10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b="1" kern="10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PIK3CA Wild and ESR1 Mutant</a:t>
                      </a:r>
                      <a:br>
                        <a:rPr lang="en-US" sz="1400" b="1" kern="10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</a:br>
                      <a:r>
                        <a:rPr lang="en-US" sz="1400" b="1" kern="10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(N=28)</a:t>
                      </a:r>
                      <a:endParaRPr lang="en-US" sz="1400" kern="10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4214976429"/>
                  </a:ext>
                </a:extLst>
              </a:tr>
              <a:tr h="211405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325397996"/>
                  </a:ext>
                </a:extLst>
              </a:tr>
              <a:tr h="211405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3160335946"/>
                  </a:ext>
                </a:extLst>
              </a:tr>
              <a:tr h="211405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c-</a:t>
                      </a:r>
                      <a:r>
                        <a:rPr lang="en-US" sz="1400" kern="10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Myc</a:t>
                      </a: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 %positive cells (%) - n</a:t>
                      </a:r>
                    </a:p>
                  </a:txBody>
                  <a:tcPr marL="12700" marR="1270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40</a:t>
                      </a:r>
                    </a:p>
                  </a:txBody>
                  <a:tcPr marL="12700" marR="1270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23</a:t>
                      </a:r>
                    </a:p>
                  </a:txBody>
                  <a:tcPr marL="12700" marR="1270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16</a:t>
                      </a:r>
                    </a:p>
                  </a:txBody>
                  <a:tcPr marL="12700" marR="1270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46</a:t>
                      </a:r>
                    </a:p>
                  </a:txBody>
                  <a:tcPr marL="12700" marR="1270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33</a:t>
                      </a:r>
                    </a:p>
                  </a:txBody>
                  <a:tcPr marL="12700" marR="1270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17</a:t>
                      </a:r>
                    </a:p>
                  </a:txBody>
                  <a:tcPr marL="12700" marR="12700" marT="0" marB="0"/>
                </a:tc>
                <a:extLst>
                  <a:ext uri="{0D108BD9-81ED-4DB2-BD59-A6C34878D82A}">
                    <a16:rowId xmlns:a16="http://schemas.microsoft.com/office/drawing/2014/main" val="249081312"/>
                  </a:ext>
                </a:extLst>
              </a:tr>
              <a:tr h="211405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   Median</a:t>
                      </a:r>
                    </a:p>
                  </a:txBody>
                  <a:tcPr marL="12700" marR="1270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18.5</a:t>
                      </a:r>
                    </a:p>
                  </a:txBody>
                  <a:tcPr marL="12700" marR="1270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50.0</a:t>
                      </a:r>
                    </a:p>
                  </a:txBody>
                  <a:tcPr marL="12700" marR="1270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52.5</a:t>
                      </a:r>
                    </a:p>
                  </a:txBody>
                  <a:tcPr marL="12700" marR="1270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16.0</a:t>
                      </a:r>
                    </a:p>
                  </a:txBody>
                  <a:tcPr marL="12700" marR="1270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36.0</a:t>
                      </a:r>
                    </a:p>
                  </a:txBody>
                  <a:tcPr marL="12700" marR="1270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55.0</a:t>
                      </a:r>
                    </a:p>
                  </a:txBody>
                  <a:tcPr marL="12700" marR="12700" marT="0" marB="0"/>
                </a:tc>
                <a:extLst>
                  <a:ext uri="{0D108BD9-81ED-4DB2-BD59-A6C34878D82A}">
                    <a16:rowId xmlns:a16="http://schemas.microsoft.com/office/drawing/2014/main" val="3783657105"/>
                  </a:ext>
                </a:extLst>
              </a:tr>
              <a:tr h="211405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endParaRPr lang="en-US" sz="1400" kern="10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12700" marR="1270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endParaRPr lang="en-US" sz="1400" kern="10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12700" marR="1270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endParaRPr lang="en-US" sz="1400" kern="10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12700" marR="1270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endParaRPr lang="en-US" sz="1400" kern="10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12700" marR="1270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endParaRPr lang="en-US" sz="1400" kern="10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12700" marR="1270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endParaRPr lang="en-US" sz="1400" kern="10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12700" marR="1270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endParaRPr lang="en-US" sz="1400" kern="10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12700" marR="12700" marT="0" marB="0"/>
                </a:tc>
                <a:extLst>
                  <a:ext uri="{0D108BD9-81ED-4DB2-BD59-A6C34878D82A}">
                    <a16:rowId xmlns:a16="http://schemas.microsoft.com/office/drawing/2014/main" val="675545764"/>
                  </a:ext>
                </a:extLst>
              </a:tr>
              <a:tr h="211405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c-</a:t>
                      </a:r>
                      <a:r>
                        <a:rPr lang="en-US" sz="1400" kern="10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Myc</a:t>
                      </a: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 %positive cells Category - n (%)</a:t>
                      </a:r>
                    </a:p>
                  </a:txBody>
                  <a:tcPr marL="12700" marR="1270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 </a:t>
                      </a:r>
                    </a:p>
                  </a:txBody>
                  <a:tcPr marL="12700" marR="1270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 </a:t>
                      </a:r>
                    </a:p>
                  </a:txBody>
                  <a:tcPr marL="12700" marR="1270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 </a:t>
                      </a:r>
                    </a:p>
                  </a:txBody>
                  <a:tcPr marL="12700" marR="1270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 </a:t>
                      </a:r>
                    </a:p>
                  </a:txBody>
                  <a:tcPr marL="12700" marR="1270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 </a:t>
                      </a:r>
                    </a:p>
                  </a:txBody>
                  <a:tcPr marL="12700" marR="1270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 </a:t>
                      </a:r>
                    </a:p>
                  </a:txBody>
                  <a:tcPr marL="12700" marR="12700" marT="0" marB="0"/>
                </a:tc>
                <a:extLst>
                  <a:ext uri="{0D108BD9-81ED-4DB2-BD59-A6C34878D82A}">
                    <a16:rowId xmlns:a16="http://schemas.microsoft.com/office/drawing/2014/main" val="4270873391"/>
                  </a:ext>
                </a:extLst>
              </a:tr>
              <a:tr h="211405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   0%</a:t>
                      </a:r>
                    </a:p>
                  </a:txBody>
                  <a:tcPr marL="12700" marR="1270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6 (14.3)</a:t>
                      </a:r>
                    </a:p>
                  </a:txBody>
                  <a:tcPr marL="12700" marR="1270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2 (8.3)</a:t>
                      </a:r>
                    </a:p>
                  </a:txBody>
                  <a:tcPr marL="12700" marR="1270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1 (5.9)</a:t>
                      </a:r>
                    </a:p>
                  </a:txBody>
                  <a:tcPr marL="12700" marR="1270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7 (9.2)</a:t>
                      </a:r>
                    </a:p>
                  </a:txBody>
                  <a:tcPr marL="12700" marR="1270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3 (5.1)</a:t>
                      </a:r>
                    </a:p>
                  </a:txBody>
                  <a:tcPr marL="12700" marR="1270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1 (3.6)</a:t>
                      </a:r>
                    </a:p>
                  </a:txBody>
                  <a:tcPr marL="12700" marR="12700" marT="0" marB="0"/>
                </a:tc>
                <a:extLst>
                  <a:ext uri="{0D108BD9-81ED-4DB2-BD59-A6C34878D82A}">
                    <a16:rowId xmlns:a16="http://schemas.microsoft.com/office/drawing/2014/main" val="1364686292"/>
                  </a:ext>
                </a:extLst>
              </a:tr>
              <a:tr h="211405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   1-10%</a:t>
                      </a:r>
                    </a:p>
                  </a:txBody>
                  <a:tcPr marL="12700" marR="1270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11 (26.2)</a:t>
                      </a:r>
                    </a:p>
                  </a:txBody>
                  <a:tcPr marL="12700" marR="1270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3 (12.5)</a:t>
                      </a:r>
                    </a:p>
                  </a:txBody>
                  <a:tcPr marL="12700" marR="1270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2 (11.8)</a:t>
                      </a:r>
                    </a:p>
                  </a:txBody>
                  <a:tcPr marL="12700" marR="1270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13 (17.1)</a:t>
                      </a:r>
                    </a:p>
                  </a:txBody>
                  <a:tcPr marL="12700" marR="1270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6 (10.2)</a:t>
                      </a:r>
                    </a:p>
                  </a:txBody>
                  <a:tcPr marL="12700" marR="1270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2 (7.1)</a:t>
                      </a:r>
                    </a:p>
                  </a:txBody>
                  <a:tcPr marL="12700" marR="12700" marT="0" marB="0"/>
                </a:tc>
                <a:extLst>
                  <a:ext uri="{0D108BD9-81ED-4DB2-BD59-A6C34878D82A}">
                    <a16:rowId xmlns:a16="http://schemas.microsoft.com/office/drawing/2014/main" val="3379158093"/>
                  </a:ext>
                </a:extLst>
              </a:tr>
              <a:tr h="211405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   11-100%</a:t>
                      </a:r>
                    </a:p>
                  </a:txBody>
                  <a:tcPr marL="12700" marR="1270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23 (54.8)</a:t>
                      </a:r>
                    </a:p>
                  </a:txBody>
                  <a:tcPr marL="12700" marR="1270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18 (75.0)</a:t>
                      </a:r>
                    </a:p>
                  </a:txBody>
                  <a:tcPr marL="12700" marR="1270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13 (76.5)</a:t>
                      </a:r>
                    </a:p>
                  </a:txBody>
                  <a:tcPr marL="12700" marR="1270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26 (34.2)</a:t>
                      </a:r>
                    </a:p>
                  </a:txBody>
                  <a:tcPr marL="12700" marR="1270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24 (40.7)</a:t>
                      </a:r>
                    </a:p>
                  </a:txBody>
                  <a:tcPr marL="12700" marR="1270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14 (50.0)</a:t>
                      </a:r>
                    </a:p>
                  </a:txBody>
                  <a:tcPr marL="12700" marR="12700" marT="0" marB="0"/>
                </a:tc>
                <a:extLst>
                  <a:ext uri="{0D108BD9-81ED-4DB2-BD59-A6C34878D82A}">
                    <a16:rowId xmlns:a16="http://schemas.microsoft.com/office/drawing/2014/main" val="3270315875"/>
                  </a:ext>
                </a:extLst>
              </a:tr>
            </a:tbl>
          </a:graphicData>
        </a:graphic>
      </p:graphicFrame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5F94B6AC-6C5E-19F2-7129-1E462FE5D01C}"/>
              </a:ext>
            </a:extLst>
          </p:cNvPr>
          <p:cNvGraphicFramePr>
            <a:graphicFrameLocks noGrp="1"/>
          </p:cNvGraphicFramePr>
          <p:nvPr/>
        </p:nvGraphicFramePr>
        <p:xfrm>
          <a:off x="576072" y="1197103"/>
          <a:ext cx="10972801" cy="274320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3125589">
                  <a:extLst>
                    <a:ext uri="{9D8B030D-6E8A-4147-A177-3AD203B41FA5}">
                      <a16:colId xmlns:a16="http://schemas.microsoft.com/office/drawing/2014/main" val="2198858608"/>
                    </a:ext>
                  </a:extLst>
                </a:gridCol>
                <a:gridCol w="3923606">
                  <a:extLst>
                    <a:ext uri="{9D8B030D-6E8A-4147-A177-3AD203B41FA5}">
                      <a16:colId xmlns:a16="http://schemas.microsoft.com/office/drawing/2014/main" val="1370483240"/>
                    </a:ext>
                  </a:extLst>
                </a:gridCol>
                <a:gridCol w="3923606">
                  <a:extLst>
                    <a:ext uri="{9D8B030D-6E8A-4147-A177-3AD203B41FA5}">
                      <a16:colId xmlns:a16="http://schemas.microsoft.com/office/drawing/2014/main" val="836939177"/>
                    </a:ext>
                  </a:extLst>
                </a:gridCol>
              </a:tblGrid>
              <a:tr h="274320">
                <a:tc>
                  <a:txBody>
                    <a:bodyPr/>
                    <a:lstStyle/>
                    <a:p>
                      <a:endParaRPr lang="en-US" sz="100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b="1" kern="10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Tissue DNA</a:t>
                      </a:r>
                      <a:endParaRPr lang="en-US" sz="1400" kern="10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b="1" kern="10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ctDNA</a:t>
                      </a:r>
                      <a:endParaRPr lang="en-US" sz="1400" kern="10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45771229"/>
                  </a:ext>
                </a:extLst>
              </a:tr>
            </a:tbl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6238B5EE-2FAA-A75C-8AF0-A366FCDF7697}"/>
              </a:ext>
            </a:extLst>
          </p:cNvPr>
          <p:cNvSpPr/>
          <p:nvPr/>
        </p:nvSpPr>
        <p:spPr>
          <a:xfrm>
            <a:off x="576071" y="4230573"/>
            <a:ext cx="11075601" cy="274320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387B2A7-908E-AB1D-7E4A-2CEBDA8062D5}"/>
              </a:ext>
            </a:extLst>
          </p:cNvPr>
          <p:cNvSpPr/>
          <p:nvPr/>
        </p:nvSpPr>
        <p:spPr>
          <a:xfrm>
            <a:off x="576072" y="3092824"/>
            <a:ext cx="11075601" cy="242047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6265193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B1FF797-7712-FCD5-70BC-B133A494888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DE2A9E-DF0E-2635-D89C-C09C20F0D7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Parallel Clinical and Biomarker Developmen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D13B17-798D-5821-B7B2-D682810CEAE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8342" y="1258848"/>
            <a:ext cx="11734800" cy="600164"/>
          </a:xfrm>
        </p:spPr>
        <p:txBody>
          <a:bodyPr/>
          <a:lstStyle/>
          <a:p>
            <a:r>
              <a:rPr lang="en-US">
                <a:solidFill>
                  <a:schemeClr val="tx1"/>
                </a:solidFill>
              </a:rPr>
              <a:t>Comprehensive biomarker strategy supports clinical development and commercialization</a:t>
            </a:r>
          </a:p>
          <a:p>
            <a:pPr lvl="1"/>
            <a:endParaRPr lang="en-US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801AD49-2C46-1A1A-2E44-D30CF5D83456}"/>
              </a:ext>
            </a:extLst>
          </p:cNvPr>
          <p:cNvSpPr txBox="1"/>
          <p:nvPr/>
        </p:nvSpPr>
        <p:spPr>
          <a:xfrm>
            <a:off x="155217" y="2103988"/>
            <a:ext cx="153963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ug developm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B5C2F19-2EF1-6BD5-E097-FF8474C6133B}"/>
              </a:ext>
            </a:extLst>
          </p:cNvPr>
          <p:cNvSpPr txBox="1"/>
          <p:nvPr/>
        </p:nvSpPr>
        <p:spPr>
          <a:xfrm>
            <a:off x="96849" y="4781260"/>
            <a:ext cx="147069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ssay development</a:t>
            </a:r>
          </a:p>
        </p:txBody>
      </p:sp>
      <p:sp>
        <p:nvSpPr>
          <p:cNvPr id="13" name="Arrow: Chevron 12">
            <a:extLst>
              <a:ext uri="{FF2B5EF4-FFF2-40B4-BE49-F238E27FC236}">
                <a16:creationId xmlns:a16="http://schemas.microsoft.com/office/drawing/2014/main" id="{EB5B8BE4-FE4F-B905-4639-FB9D740E89E8}"/>
              </a:ext>
            </a:extLst>
          </p:cNvPr>
          <p:cNvSpPr/>
          <p:nvPr/>
        </p:nvSpPr>
        <p:spPr>
          <a:xfrm>
            <a:off x="7927302" y="2026417"/>
            <a:ext cx="4002429" cy="846967"/>
          </a:xfrm>
          <a:prstGeom prst="chevron">
            <a:avLst/>
          </a:prstGeom>
          <a:solidFill>
            <a:schemeClr val="accent1">
              <a:lumMod val="75000"/>
            </a:schemeClr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mended ALISCA</a:t>
            </a:r>
            <a:r>
              <a:rPr kumimoji="0" lang="en-US" sz="1400" b="1" i="0" u="none" strike="noStrike" kern="1200" cap="none" spc="0" normalizeH="0" baseline="3000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M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Breast1 for biomarker defined population to support potential Phase III trial</a:t>
            </a:r>
          </a:p>
        </p:txBody>
      </p:sp>
      <p:sp>
        <p:nvSpPr>
          <p:cNvPr id="16" name="Arrow: Chevron 15">
            <a:extLst>
              <a:ext uri="{FF2B5EF4-FFF2-40B4-BE49-F238E27FC236}">
                <a16:creationId xmlns:a16="http://schemas.microsoft.com/office/drawing/2014/main" id="{E219791C-6F7B-94C5-6916-2A62DF6FAAC5}"/>
              </a:ext>
            </a:extLst>
          </p:cNvPr>
          <p:cNvSpPr/>
          <p:nvPr/>
        </p:nvSpPr>
        <p:spPr>
          <a:xfrm>
            <a:off x="2239248" y="1976597"/>
            <a:ext cx="3243896" cy="860395"/>
          </a:xfrm>
          <a:prstGeom prst="chevron">
            <a:avLst/>
          </a:prstGeom>
          <a:solidFill>
            <a:schemeClr val="accent1">
              <a:lumMod val="75000"/>
            </a:schemeClr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9BAAEAB-F0BB-EEF7-25C4-011D76FFF2B8}"/>
              </a:ext>
            </a:extLst>
          </p:cNvPr>
          <p:cNvSpPr txBox="1"/>
          <p:nvPr/>
        </p:nvSpPr>
        <p:spPr>
          <a:xfrm>
            <a:off x="2611691" y="2159767"/>
            <a:ext cx="249900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rollment of ALISCA</a:t>
            </a:r>
            <a:r>
              <a:rPr kumimoji="0" lang="en-US" sz="1400" b="1" i="0" u="none" strike="noStrike" kern="1200" cap="none" spc="0" normalizeH="0" baseline="3000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M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Breast1</a:t>
            </a:r>
          </a:p>
        </p:txBody>
      </p:sp>
      <p:sp>
        <p:nvSpPr>
          <p:cNvPr id="18" name="Arrow: Chevron 17">
            <a:extLst>
              <a:ext uri="{FF2B5EF4-FFF2-40B4-BE49-F238E27FC236}">
                <a16:creationId xmlns:a16="http://schemas.microsoft.com/office/drawing/2014/main" id="{9F5A0247-917A-CD4E-6422-3097DDDFC6A3}"/>
              </a:ext>
            </a:extLst>
          </p:cNvPr>
          <p:cNvSpPr/>
          <p:nvPr/>
        </p:nvSpPr>
        <p:spPr>
          <a:xfrm>
            <a:off x="1353192" y="4881402"/>
            <a:ext cx="1074528" cy="824913"/>
          </a:xfrm>
          <a:prstGeom prst="chevron">
            <a:avLst/>
          </a:prstGeom>
          <a:solidFill>
            <a:srgbClr val="ED833B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36041BD-ADF6-002A-ED2C-3E3C490F0749}"/>
              </a:ext>
            </a:extLst>
          </p:cNvPr>
          <p:cNvSpPr txBox="1"/>
          <p:nvPr/>
        </p:nvSpPr>
        <p:spPr>
          <a:xfrm>
            <a:off x="1567543" y="5009458"/>
            <a:ext cx="969168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lidation</a:t>
            </a:r>
          </a:p>
        </p:txBody>
      </p:sp>
      <p:sp>
        <p:nvSpPr>
          <p:cNvPr id="21" name="Arrow: Chevron 20">
            <a:extLst>
              <a:ext uri="{FF2B5EF4-FFF2-40B4-BE49-F238E27FC236}">
                <a16:creationId xmlns:a16="http://schemas.microsoft.com/office/drawing/2014/main" id="{1591DC33-EF14-9CFD-0B82-39011856DF92}"/>
              </a:ext>
            </a:extLst>
          </p:cNvPr>
          <p:cNvSpPr/>
          <p:nvPr/>
        </p:nvSpPr>
        <p:spPr>
          <a:xfrm>
            <a:off x="5685893" y="4881402"/>
            <a:ext cx="1381232" cy="824913"/>
          </a:xfrm>
          <a:prstGeom prst="chevron">
            <a:avLst/>
          </a:prstGeom>
          <a:solidFill>
            <a:srgbClr val="ED833B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30CA48AF-EED5-67C4-DBBA-8C6A5CC253E5}"/>
              </a:ext>
            </a:extLst>
          </p:cNvPr>
          <p:cNvSpPr txBox="1"/>
          <p:nvPr/>
        </p:nvSpPr>
        <p:spPr>
          <a:xfrm>
            <a:off x="2641735" y="3476157"/>
            <a:ext cx="897560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iomarker analysis, batch  1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9507630-FBAC-DB85-73C9-689239B1C778}"/>
              </a:ext>
            </a:extLst>
          </p:cNvPr>
          <p:cNvSpPr txBox="1"/>
          <p:nvPr/>
        </p:nvSpPr>
        <p:spPr>
          <a:xfrm>
            <a:off x="98558" y="3388129"/>
            <a:ext cx="173224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alysis or Decision point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0B2107E1-4E2B-5E75-B8EA-7A78681046D0}"/>
              </a:ext>
            </a:extLst>
          </p:cNvPr>
          <p:cNvSpPr txBox="1"/>
          <p:nvPr/>
        </p:nvSpPr>
        <p:spPr>
          <a:xfrm>
            <a:off x="4029832" y="3491436"/>
            <a:ext cx="897560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iomarker analysis, batch  2</a:t>
            </a: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DB79CAF5-9A74-CA88-AF13-1A5BCF50CBB8}"/>
              </a:ext>
            </a:extLst>
          </p:cNvPr>
          <p:cNvSpPr/>
          <p:nvPr/>
        </p:nvSpPr>
        <p:spPr>
          <a:xfrm>
            <a:off x="5521901" y="3016333"/>
            <a:ext cx="460867" cy="1675372"/>
          </a:xfrm>
          <a:prstGeom prst="roundRect">
            <a:avLst/>
          </a:prstGeom>
          <a:solidFill>
            <a:srgbClr val="FF0000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6330A2CA-C33C-9473-CE34-605FD9D1A855}"/>
              </a:ext>
            </a:extLst>
          </p:cNvPr>
          <p:cNvSpPr txBox="1"/>
          <p:nvPr/>
        </p:nvSpPr>
        <p:spPr>
          <a:xfrm>
            <a:off x="5609108" y="3101123"/>
            <a:ext cx="123211" cy="16158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iomarker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51BA2B19-2A56-C5AD-8A0B-31899763D785}"/>
              </a:ext>
            </a:extLst>
          </p:cNvPr>
          <p:cNvSpPr txBox="1"/>
          <p:nvPr/>
        </p:nvSpPr>
        <p:spPr>
          <a:xfrm>
            <a:off x="5785527" y="3101123"/>
            <a:ext cx="123211" cy="16158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lection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AAB164C2-9E2F-FA9E-B012-F9DBB7F3DD59}"/>
              </a:ext>
            </a:extLst>
          </p:cNvPr>
          <p:cNvSpPr txBox="1"/>
          <p:nvPr/>
        </p:nvSpPr>
        <p:spPr>
          <a:xfrm>
            <a:off x="5937731" y="5009458"/>
            <a:ext cx="1122437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UO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lidation</a:t>
            </a:r>
          </a:p>
        </p:txBody>
      </p:sp>
      <p:sp>
        <p:nvSpPr>
          <p:cNvPr id="38" name="Arrow: Chevron 37">
            <a:extLst>
              <a:ext uri="{FF2B5EF4-FFF2-40B4-BE49-F238E27FC236}">
                <a16:creationId xmlns:a16="http://schemas.microsoft.com/office/drawing/2014/main" id="{1A0034E2-7997-F666-C686-5BB552F9E0CC}"/>
              </a:ext>
            </a:extLst>
          </p:cNvPr>
          <p:cNvSpPr/>
          <p:nvPr/>
        </p:nvSpPr>
        <p:spPr>
          <a:xfrm>
            <a:off x="7927302" y="4859349"/>
            <a:ext cx="4002428" cy="846967"/>
          </a:xfrm>
          <a:prstGeom prst="chevron">
            <a:avLst/>
          </a:prstGeom>
          <a:solidFill>
            <a:srgbClr val="ED833B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E7A657B4-1FBD-95B8-A151-5F888B18A298}"/>
              </a:ext>
            </a:extLst>
          </p:cNvPr>
          <p:cNvSpPr txBox="1"/>
          <p:nvPr/>
        </p:nvSpPr>
        <p:spPr>
          <a:xfrm>
            <a:off x="8806628" y="4950537"/>
            <a:ext cx="232802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spective enrollment/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Dx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validation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C089C6A6-EB6B-FF81-38A8-9DD7860BC63D}"/>
              </a:ext>
            </a:extLst>
          </p:cNvPr>
          <p:cNvSpPr txBox="1"/>
          <p:nvPr/>
        </p:nvSpPr>
        <p:spPr>
          <a:xfrm>
            <a:off x="7067125" y="3101816"/>
            <a:ext cx="123211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iomarker</a:t>
            </a: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F92699C4-C0B6-EE90-57EC-24913A743EB2}"/>
              </a:ext>
            </a:extLst>
          </p:cNvPr>
          <p:cNvSpPr/>
          <p:nvPr/>
        </p:nvSpPr>
        <p:spPr>
          <a:xfrm>
            <a:off x="6636377" y="3541728"/>
            <a:ext cx="1255795" cy="440164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310EB433-609D-0811-6451-75DE652A87E1}"/>
              </a:ext>
            </a:extLst>
          </p:cNvPr>
          <p:cNvSpPr txBox="1"/>
          <p:nvPr/>
        </p:nvSpPr>
        <p:spPr>
          <a:xfrm>
            <a:off x="6545715" y="3520227"/>
            <a:ext cx="1381587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DA interaction</a:t>
            </a:r>
          </a:p>
        </p:txBody>
      </p:sp>
      <p:sp>
        <p:nvSpPr>
          <p:cNvPr id="50" name="Rectangle: Rounded Corners 49">
            <a:extLst>
              <a:ext uri="{FF2B5EF4-FFF2-40B4-BE49-F238E27FC236}">
                <a16:creationId xmlns:a16="http://schemas.microsoft.com/office/drawing/2014/main" id="{738A0672-1A06-38C6-CDB3-D27DE1F99383}"/>
              </a:ext>
            </a:extLst>
          </p:cNvPr>
          <p:cNvSpPr/>
          <p:nvPr/>
        </p:nvSpPr>
        <p:spPr>
          <a:xfrm>
            <a:off x="3090516" y="3429000"/>
            <a:ext cx="2392628" cy="442900"/>
          </a:xfrm>
          <a:prstGeom prst="roundRect">
            <a:avLst/>
          </a:prstGeom>
          <a:solidFill>
            <a:srgbClr val="00B050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952B3B3E-8423-0B84-FFCD-A6409DC267B8}"/>
              </a:ext>
            </a:extLst>
          </p:cNvPr>
          <p:cNvSpPr txBox="1"/>
          <p:nvPr/>
        </p:nvSpPr>
        <p:spPr>
          <a:xfrm>
            <a:off x="3146636" y="3388840"/>
            <a:ext cx="230123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</a:t>
            </a:r>
            <a:r>
              <a:rPr kumimoji="0" lang="en-US" sz="1400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omarker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alysis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Arc 14">
            <a:extLst>
              <a:ext uri="{FF2B5EF4-FFF2-40B4-BE49-F238E27FC236}">
                <a16:creationId xmlns:a16="http://schemas.microsoft.com/office/drawing/2014/main" id="{79658DD9-BF40-87DC-EA38-87DEEB7FC6C3}"/>
              </a:ext>
            </a:extLst>
          </p:cNvPr>
          <p:cNvSpPr/>
          <p:nvPr/>
        </p:nvSpPr>
        <p:spPr>
          <a:xfrm>
            <a:off x="5752334" y="4516062"/>
            <a:ext cx="457200" cy="514307"/>
          </a:xfrm>
          <a:prstGeom prst="arc">
            <a:avLst>
              <a:gd name="adj1" fmla="val 16200000"/>
              <a:gd name="adj2" fmla="val 2051034"/>
            </a:avLst>
          </a:prstGeom>
          <a:ln w="19050" cap="flat" cmpd="sng" algn="ctr">
            <a:solidFill>
              <a:schemeClr val="accent4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Arrow: Chevron 18">
            <a:extLst>
              <a:ext uri="{FF2B5EF4-FFF2-40B4-BE49-F238E27FC236}">
                <a16:creationId xmlns:a16="http://schemas.microsoft.com/office/drawing/2014/main" id="{68F46421-8235-7B49-3A27-0EAE8978D91A}"/>
              </a:ext>
            </a:extLst>
          </p:cNvPr>
          <p:cNvSpPr/>
          <p:nvPr/>
        </p:nvSpPr>
        <p:spPr>
          <a:xfrm>
            <a:off x="5376290" y="2205103"/>
            <a:ext cx="833244" cy="399883"/>
          </a:xfrm>
          <a:prstGeom prst="chevron">
            <a:avLst/>
          </a:prstGeom>
          <a:noFill/>
          <a:ln w="1270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24AF45C-90B4-DD9E-15C5-B5079D49E6ED}"/>
              </a:ext>
            </a:extLst>
          </p:cNvPr>
          <p:cNvSpPr txBox="1"/>
          <p:nvPr/>
        </p:nvSpPr>
        <p:spPr>
          <a:xfrm>
            <a:off x="5467749" y="2306879"/>
            <a:ext cx="761663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4176A0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eatment</a:t>
            </a:r>
          </a:p>
        </p:txBody>
      </p:sp>
      <p:sp>
        <p:nvSpPr>
          <p:cNvPr id="6" name="Arrow: Chevron 5">
            <a:extLst>
              <a:ext uri="{FF2B5EF4-FFF2-40B4-BE49-F238E27FC236}">
                <a16:creationId xmlns:a16="http://schemas.microsoft.com/office/drawing/2014/main" id="{5A857F7D-B56B-12CC-D3F8-773DC890AF93}"/>
              </a:ext>
            </a:extLst>
          </p:cNvPr>
          <p:cNvSpPr/>
          <p:nvPr/>
        </p:nvSpPr>
        <p:spPr>
          <a:xfrm>
            <a:off x="6058503" y="2205103"/>
            <a:ext cx="833244" cy="399883"/>
          </a:xfrm>
          <a:prstGeom prst="chevron">
            <a:avLst/>
          </a:prstGeom>
          <a:noFill/>
          <a:ln w="1270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0E2CDF8-178C-B976-3988-92B0D10B572F}"/>
              </a:ext>
            </a:extLst>
          </p:cNvPr>
          <p:cNvSpPr txBox="1"/>
          <p:nvPr/>
        </p:nvSpPr>
        <p:spPr>
          <a:xfrm>
            <a:off x="6097221" y="2230682"/>
            <a:ext cx="76166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4176A0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a Analysis</a:t>
            </a:r>
          </a:p>
        </p:txBody>
      </p:sp>
    </p:spTree>
    <p:extLst>
      <p:ext uri="{BB962C8B-B14F-4D97-AF65-F5344CB8AC3E}">
        <p14:creationId xmlns:p14="http://schemas.microsoft.com/office/powerpoint/2010/main" val="3702697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1F865D-2361-41EF-8A7D-83D7CC95CA48}"/>
              </a:ext>
            </a:extLst>
          </p:cNvPr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algn="ctr"/>
            <a:r>
              <a:rPr lang="en-US" sz="2800"/>
              <a:t>ALISCA</a:t>
            </a:r>
            <a:r>
              <a:rPr lang="en-US" sz="2800" baseline="30000"/>
              <a:t>TM</a:t>
            </a:r>
            <a:r>
              <a:rPr lang="en-US" sz="2800"/>
              <a:t>-Breast1</a:t>
            </a:r>
            <a:r>
              <a:rPr lang="en-US" sz="2700">
                <a:latin typeface="Arial" charset="0"/>
              </a:rPr>
              <a:t> – Expected Milestones</a:t>
            </a:r>
            <a:endParaRPr lang="en-US" sz="2700">
              <a:latin typeface="+mj-lt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DE30E31-E288-46C9-AE00-9B8937074814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499273" y="1652816"/>
            <a:ext cx="11578426" cy="5596155"/>
          </a:xfrm>
          <a:prstGeom prst="rect">
            <a:avLst/>
          </a:prstGeom>
        </p:spPr>
        <p:txBody>
          <a:bodyPr lIns="0"/>
          <a:lstStyle/>
          <a:p>
            <a:pPr marL="0" indent="0">
              <a:spcBef>
                <a:spcPts val="600"/>
              </a:spcBef>
              <a:buClr>
                <a:schemeClr val="tx2"/>
              </a:buClr>
              <a:buSzPct val="111000"/>
              <a:buNone/>
            </a:pPr>
            <a:endParaRPr lang="en-US" sz="1400" b="0" dirty="0">
              <a:solidFill>
                <a:schemeClr val="tx1"/>
              </a:solidFill>
              <a:latin typeface="+mj-lt"/>
              <a:cs typeface="Arial" charset="0"/>
            </a:endParaRPr>
          </a:p>
          <a:p>
            <a:pPr marL="615554" lvl="1" indent="-365760">
              <a:spcBef>
                <a:spcPts val="600"/>
              </a:spcBef>
              <a:spcAft>
                <a:spcPts val="1000"/>
              </a:spcAft>
              <a:buClr>
                <a:prstClr val="white">
                  <a:lumMod val="65000"/>
                </a:prstClr>
              </a:buClr>
              <a:buBlip>
                <a:blip r:embed="rId3"/>
              </a:buBlip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Arial" charset="0"/>
              </a:rPr>
              <a:t>Expand enrollment to obtain more data on biomarker directed cohorts </a:t>
            </a:r>
            <a:r>
              <a:rPr lang="en-US" sz="2400" dirty="0">
                <a:solidFill>
                  <a:prstClr val="black"/>
                </a:solidFill>
                <a:latin typeface="+mj-lt"/>
                <a:cs typeface="Arial" charset="0"/>
              </a:rPr>
              <a:t> 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Arial" charset="0"/>
              </a:rPr>
              <a:t>(</a:t>
            </a:r>
            <a:r>
              <a:rPr lang="en-US" sz="2400" dirty="0">
                <a:solidFill>
                  <a:prstClr val="black"/>
                </a:solidFill>
                <a:latin typeface="+mj-lt"/>
                <a:cs typeface="Arial" charset="0"/>
              </a:rPr>
              <a:t>H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Arial" charset="0"/>
              </a:rPr>
              <a:t>2 2026)</a:t>
            </a:r>
          </a:p>
          <a:p>
            <a:pPr marL="960041" lvl="2" indent="-365760">
              <a:spcBef>
                <a:spcPts val="600"/>
              </a:spcBef>
              <a:spcAft>
                <a:spcPts val="1000"/>
              </a:spcAft>
              <a:buClr>
                <a:prstClr val="white">
                  <a:lumMod val="65000"/>
                </a:prstClr>
              </a:buClr>
              <a:buBlip>
                <a:blip r:embed="rId3"/>
              </a:buBlip>
              <a:defRPr/>
            </a:pPr>
            <a:r>
              <a:rPr lang="en-US" sz="2400" dirty="0">
                <a:solidFill>
                  <a:prstClr val="black"/>
                </a:solidFill>
                <a:latin typeface="+mj-lt"/>
                <a:cs typeface="Arial" charset="0"/>
              </a:rPr>
              <a:t>PIK3CA Wild Type</a:t>
            </a:r>
          </a:p>
          <a:p>
            <a:pPr marL="960041" lvl="2" indent="-365760">
              <a:spcBef>
                <a:spcPts val="600"/>
              </a:spcBef>
              <a:spcAft>
                <a:spcPts val="1000"/>
              </a:spcAft>
              <a:buClr>
                <a:prstClr val="white">
                  <a:lumMod val="65000"/>
                </a:prstClr>
              </a:buClr>
              <a:buBlip>
                <a:blip r:embed="rId3"/>
              </a:buBlip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Arial" charset="0"/>
              </a:rPr>
              <a:t>ESR</a:t>
            </a:r>
            <a:r>
              <a:rPr lang="en-US" sz="2400" dirty="0">
                <a:solidFill>
                  <a:prstClr val="black"/>
                </a:solidFill>
                <a:latin typeface="+mj-lt"/>
                <a:cs typeface="Arial" charset="0"/>
              </a:rPr>
              <a:t>1 Mutant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Arial" charset="0"/>
            </a:endParaRPr>
          </a:p>
          <a:p>
            <a:pPr marL="249794" marR="0" lvl="1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1000"/>
              </a:spcAft>
              <a:buClr>
                <a:prstClr val="white">
                  <a:lumMod val="65000"/>
                </a:prstClr>
              </a:buClr>
              <a:buSz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Arial" charset="0"/>
            </a:endParaRPr>
          </a:p>
          <a:p>
            <a:pPr marL="615554" marR="0" lvl="1" indent="-36576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1000"/>
              </a:spcAft>
              <a:buClr>
                <a:prstClr val="white">
                  <a:lumMod val="65000"/>
                </a:prstClr>
              </a:buClr>
              <a:buSzTx/>
              <a:buFont typeface="Arial" panose="020B0604020202020204" pitchFamily="34" charset="0"/>
              <a:buBlip>
                <a:blip r:embed="rId3"/>
              </a:buBlip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Arial" charset="0"/>
              </a:rPr>
              <a:t>Additional interim data from ALISCA</a:t>
            </a:r>
            <a:r>
              <a:rPr kumimoji="0" lang="en-US" sz="24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TM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Arial" charset="0"/>
              </a:rPr>
              <a:t>-Breast1, a Phase II clinical trial of alisertib in combination with endocrine therapy for the treatment of ER positive HER2 Negative Metastatic Breast Cancer (H2 2026)</a:t>
            </a:r>
          </a:p>
          <a:p>
            <a:pPr marL="249794" lvl="1" indent="0">
              <a:spcBef>
                <a:spcPts val="600"/>
              </a:spcBef>
              <a:spcAft>
                <a:spcPts val="1000"/>
              </a:spcAft>
              <a:buClr>
                <a:prstClr val="white">
                  <a:lumMod val="65000"/>
                </a:prstClr>
              </a:buClr>
              <a:buNone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  <a:p>
            <a:pPr marL="615554" lvl="1" indent="-365760">
              <a:spcBef>
                <a:spcPts val="600"/>
              </a:spcBef>
              <a:spcAft>
                <a:spcPts val="1000"/>
              </a:spcAft>
              <a:buClr>
                <a:prstClr val="white">
                  <a:lumMod val="65000"/>
                </a:prstClr>
              </a:buClr>
              <a:buBlip>
                <a:blip r:embed="rId3"/>
              </a:buBlip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  <a:p>
            <a:pPr marL="615554" lvl="1" indent="-365760">
              <a:spcBef>
                <a:spcPts val="600"/>
              </a:spcBef>
              <a:spcAft>
                <a:spcPts val="1000"/>
              </a:spcAft>
              <a:buClr>
                <a:prstClr val="white">
                  <a:lumMod val="65000"/>
                </a:prstClr>
              </a:buClr>
              <a:buBlip>
                <a:blip r:embed="rId3"/>
              </a:buBlip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  <a:p>
            <a:pPr marL="0" indent="0">
              <a:spcBef>
                <a:spcPts val="600"/>
              </a:spcBef>
              <a:spcAft>
                <a:spcPts val="1800"/>
              </a:spcAft>
              <a:buNone/>
            </a:pPr>
            <a:endParaRPr lang="en-US" sz="2000" b="0" dirty="0">
              <a:solidFill>
                <a:schemeClr val="tx1"/>
              </a:solidFill>
              <a:latin typeface="+mj-lt"/>
              <a:cs typeface="Arial" charset="0"/>
            </a:endParaRPr>
          </a:p>
          <a:p>
            <a:pPr marL="0" indent="0">
              <a:spcBef>
                <a:spcPts val="600"/>
              </a:spcBef>
              <a:spcAft>
                <a:spcPts val="1800"/>
              </a:spcAft>
              <a:buNone/>
            </a:pPr>
            <a:endParaRPr lang="en-US" sz="1800" dirty="0">
              <a:solidFill>
                <a:schemeClr val="tx1"/>
              </a:solidFill>
              <a:latin typeface="+mj-lt"/>
            </a:endParaRPr>
          </a:p>
          <a:p>
            <a:pPr marL="0" indent="0">
              <a:spcBef>
                <a:spcPts val="600"/>
              </a:spcBef>
              <a:spcAft>
                <a:spcPts val="1800"/>
              </a:spcAft>
              <a:buNone/>
            </a:pPr>
            <a:endParaRPr lang="en-US" sz="2000" b="0" dirty="0">
              <a:solidFill>
                <a:schemeClr val="tx1"/>
              </a:solidFill>
              <a:latin typeface="+mj-lt"/>
              <a:cs typeface="Arial" charset="0"/>
            </a:endParaRPr>
          </a:p>
          <a:p>
            <a:pPr marL="357188" indent="-357188">
              <a:spcBef>
                <a:spcPts val="600"/>
              </a:spcBef>
              <a:spcAft>
                <a:spcPts val="1800"/>
              </a:spcAft>
              <a:buBlip>
                <a:blip r:embed="rId3"/>
              </a:buBlip>
            </a:pPr>
            <a:endParaRPr lang="en-US" sz="2000" b="0" dirty="0">
              <a:solidFill>
                <a:schemeClr val="tx1"/>
              </a:solidFill>
              <a:latin typeface="+mj-lt"/>
              <a:cs typeface="Arial" charset="0"/>
            </a:endParaRPr>
          </a:p>
          <a:p>
            <a:pPr marL="357188" indent="-357188">
              <a:spcBef>
                <a:spcPts val="600"/>
              </a:spcBef>
              <a:spcAft>
                <a:spcPts val="1800"/>
              </a:spcAft>
              <a:buBlip>
                <a:blip r:embed="rId3"/>
              </a:buBlip>
            </a:pPr>
            <a:endParaRPr lang="en-US" sz="2000" b="0" dirty="0">
              <a:solidFill>
                <a:schemeClr val="tx1"/>
              </a:solidFill>
              <a:latin typeface="+mj-lt"/>
              <a:cs typeface="Arial" charset="0"/>
            </a:endParaRPr>
          </a:p>
          <a:p>
            <a:pPr marL="357188" indent="-357188">
              <a:spcBef>
                <a:spcPts val="600"/>
              </a:spcBef>
              <a:spcAft>
                <a:spcPts val="1800"/>
              </a:spcAft>
              <a:buBlip>
                <a:blip r:embed="rId3"/>
              </a:buBlip>
            </a:pPr>
            <a:r>
              <a:rPr lang="en-US" sz="2000" dirty="0">
                <a:solidFill>
                  <a:schemeClr val="tx1"/>
                </a:solidFill>
                <a:latin typeface="+mj-lt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23811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Content Placeholder 4" descr="Diagram&#10;&#10;Description automatically generated">
            <a:extLst>
              <a:ext uri="{FF2B5EF4-FFF2-40B4-BE49-F238E27FC236}">
                <a16:creationId xmlns:a16="http://schemas.microsoft.com/office/drawing/2014/main" id="{75E23B71-84E0-8BFC-79A8-E1C8322BC3B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3519" y="1746412"/>
            <a:ext cx="3193086" cy="208506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E788CE6-EB56-4674-05E9-9130BE3895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Alisertib (MLN 8237)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C86214B-8370-9AE1-A3CD-BA98DE375784}"/>
              </a:ext>
            </a:extLst>
          </p:cNvPr>
          <p:cNvSpPr/>
          <p:nvPr/>
        </p:nvSpPr>
        <p:spPr>
          <a:xfrm>
            <a:off x="607341" y="4242926"/>
            <a:ext cx="10995378" cy="2432053"/>
          </a:xfrm>
          <a:prstGeom prst="rect">
            <a:avLst/>
          </a:prstGeom>
          <a:solidFill>
            <a:schemeClr val="accent3"/>
          </a:solidFill>
          <a:ln w="12700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59FBFC2-7AB2-CA64-D161-2A23EC9DBE68}"/>
              </a:ext>
            </a:extLst>
          </p:cNvPr>
          <p:cNvSpPr txBox="1"/>
          <p:nvPr/>
        </p:nvSpPr>
        <p:spPr>
          <a:xfrm>
            <a:off x="724040" y="4255419"/>
            <a:ext cx="10761979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ngle-agent and combinational clinical activity in solid tumors including hormone r</a:t>
            </a:r>
            <a:r>
              <a: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ceptor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positive b</a:t>
            </a:r>
            <a:r>
              <a: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ast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cancer (HR+ MBC), triple n</a:t>
            </a:r>
            <a:r>
              <a: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gative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breast c</a:t>
            </a:r>
            <a:r>
              <a: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cer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TNBC), small cell lung c</a:t>
            </a:r>
            <a:r>
              <a: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cer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SCLC), and head and neck cancer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ngle-agent clinical activity in hematologic malignancies including peripheral T-cell lymphoma (PTCL) and aggressive non-Hodgkin’s lymphoma (NHL)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ell-characterized safety profile: ~1,300 patients treated across 22 company-sponsored trial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CAB998F-B2E3-60DE-82E6-6186BA0CCE2F}"/>
              </a:ext>
            </a:extLst>
          </p:cNvPr>
          <p:cNvSpPr txBox="1"/>
          <p:nvPr/>
        </p:nvSpPr>
        <p:spPr>
          <a:xfrm>
            <a:off x="7983091" y="1989481"/>
            <a:ext cx="28016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rally Bioavailabl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ug Class: Benzazepine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68850FB0-B278-9D91-4B4D-07E35AFEB976}"/>
              </a:ext>
            </a:extLst>
          </p:cNvPr>
          <p:cNvSpPr/>
          <p:nvPr/>
        </p:nvSpPr>
        <p:spPr>
          <a:xfrm>
            <a:off x="1804658" y="1591137"/>
            <a:ext cx="3933825" cy="2257425"/>
          </a:xfrm>
          <a:prstGeom prst="roundRect">
            <a:avLst/>
          </a:prstGeom>
          <a:solidFill>
            <a:schemeClr val="accent1"/>
          </a:solidFill>
          <a:ln w="127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B53591-DB6D-8299-0724-C2BF0EF2C138}"/>
              </a:ext>
            </a:extLst>
          </p:cNvPr>
          <p:cNvSpPr txBox="1"/>
          <p:nvPr/>
        </p:nvSpPr>
        <p:spPr>
          <a:xfrm>
            <a:off x="2205595" y="2146323"/>
            <a:ext cx="32670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urora Kinase A (AURKA) inhibitor </a:t>
            </a:r>
          </a:p>
        </p:txBody>
      </p:sp>
    </p:spTree>
    <p:extLst>
      <p:ext uri="{BB962C8B-B14F-4D97-AF65-F5344CB8AC3E}">
        <p14:creationId xmlns:p14="http://schemas.microsoft.com/office/powerpoint/2010/main" val="232328802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12C596-1691-1311-FF38-2BEDF982E6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AURKA and c-</a:t>
            </a:r>
            <a:r>
              <a:rPr lang="en-US" dirty="0" err="1"/>
              <a:t>Myc</a:t>
            </a:r>
            <a:r>
              <a:rPr lang="en-US" dirty="0"/>
              <a:t> Co-regulate Each Other </a:t>
            </a:r>
          </a:p>
        </p:txBody>
      </p:sp>
      <p:sp>
        <p:nvSpPr>
          <p:cNvPr id="132" name="TextBox 131">
            <a:extLst>
              <a:ext uri="{FF2B5EF4-FFF2-40B4-BE49-F238E27FC236}">
                <a16:creationId xmlns:a16="http://schemas.microsoft.com/office/drawing/2014/main" id="{6D76D919-B85D-58E8-AF4E-D6D6246AD4FB}"/>
              </a:ext>
            </a:extLst>
          </p:cNvPr>
          <p:cNvSpPr txBox="1"/>
          <p:nvPr/>
        </p:nvSpPr>
        <p:spPr>
          <a:xfrm>
            <a:off x="5054764" y="2867464"/>
            <a:ext cx="6654500" cy="1754326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URKA and c-</a:t>
            </a:r>
            <a:r>
              <a: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yc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transcriptionally upregulate each other, suggesting the existence of a positive feedback loop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22222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-</a:t>
            </a:r>
            <a:r>
              <a: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yc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upregulates Cyclin D2, CDK4, and cyclin-E, contributing to complex formation and subsequent phosphorylation of p27Kip1, which leads to cell proliferation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F6F5EBA6-4845-90EA-7674-FB1644433948}"/>
              </a:ext>
            </a:extLst>
          </p:cNvPr>
          <p:cNvSpPr txBox="1"/>
          <p:nvPr/>
        </p:nvSpPr>
        <p:spPr>
          <a:xfrm>
            <a:off x="370748" y="1363252"/>
            <a:ext cx="11587834" cy="4001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uclear AURKA exerts kinase-independent functions by acting as a transcription factor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86AF96AD-3147-59E0-1478-78A39648FB16}"/>
              </a:ext>
            </a:extLst>
          </p:cNvPr>
          <p:cNvGrpSpPr/>
          <p:nvPr/>
        </p:nvGrpSpPr>
        <p:grpSpPr>
          <a:xfrm>
            <a:off x="610145" y="2408510"/>
            <a:ext cx="4091424" cy="3404279"/>
            <a:chOff x="610145" y="2408510"/>
            <a:chExt cx="4091424" cy="3404279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E521BE0F-DF2E-4498-B497-0018B76A9748}"/>
                </a:ext>
              </a:extLst>
            </p:cNvPr>
            <p:cNvGrpSpPr/>
            <p:nvPr/>
          </p:nvGrpSpPr>
          <p:grpSpPr>
            <a:xfrm>
              <a:off x="610145" y="2408510"/>
              <a:ext cx="4091424" cy="3404279"/>
              <a:chOff x="1013987" y="2028314"/>
              <a:chExt cx="4091424" cy="3404279"/>
            </a:xfrm>
          </p:grpSpPr>
          <p:grpSp>
            <p:nvGrpSpPr>
              <p:cNvPr id="5" name="Group 4">
                <a:extLst>
                  <a:ext uri="{FF2B5EF4-FFF2-40B4-BE49-F238E27FC236}">
                    <a16:creationId xmlns:a16="http://schemas.microsoft.com/office/drawing/2014/main" id="{2B18BEE7-0C3D-4C3F-6027-D471CE3F3EE0}"/>
                  </a:ext>
                </a:extLst>
              </p:cNvPr>
              <p:cNvGrpSpPr/>
              <p:nvPr/>
            </p:nvGrpSpPr>
            <p:grpSpPr>
              <a:xfrm>
                <a:off x="2584684" y="2028314"/>
                <a:ext cx="1029810" cy="299621"/>
                <a:chOff x="4172505" y="3429000"/>
                <a:chExt cx="1029810" cy="299621"/>
              </a:xfrm>
            </p:grpSpPr>
            <p:sp>
              <p:nvSpPr>
                <p:cNvPr id="6" name="Oval 5">
                  <a:extLst>
                    <a:ext uri="{FF2B5EF4-FFF2-40B4-BE49-F238E27FC236}">
                      <a16:creationId xmlns:a16="http://schemas.microsoft.com/office/drawing/2014/main" id="{51A23B73-0232-7D70-67E8-6DCEC0187BDE}"/>
                    </a:ext>
                  </a:extLst>
                </p:cNvPr>
                <p:cNvSpPr/>
                <p:nvPr/>
              </p:nvSpPr>
              <p:spPr>
                <a:xfrm>
                  <a:off x="4172505" y="3429000"/>
                  <a:ext cx="1029810" cy="299621"/>
                </a:xfrm>
                <a:prstGeom prst="ellipse">
                  <a:avLst/>
                </a:prstGeom>
                <a:solidFill>
                  <a:schemeClr val="accent6"/>
                </a:solidFill>
                <a:ln w="12700"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7" name="TextBox 6">
                  <a:extLst>
                    <a:ext uri="{FF2B5EF4-FFF2-40B4-BE49-F238E27FC236}">
                      <a16:creationId xmlns:a16="http://schemas.microsoft.com/office/drawing/2014/main" id="{8EA80094-F4EB-999E-C40E-F8DA7D928377}"/>
                    </a:ext>
                  </a:extLst>
                </p:cNvPr>
                <p:cNvSpPr txBox="1"/>
                <p:nvPr/>
              </p:nvSpPr>
              <p:spPr>
                <a:xfrm>
                  <a:off x="4270156" y="3435643"/>
                  <a:ext cx="816746" cy="2769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AURKA</a:t>
                  </a:r>
                </a:p>
              </p:txBody>
            </p:sp>
          </p:grpSp>
          <p:grpSp>
            <p:nvGrpSpPr>
              <p:cNvPr id="119" name="Group 118">
                <a:extLst>
                  <a:ext uri="{FF2B5EF4-FFF2-40B4-BE49-F238E27FC236}">
                    <a16:creationId xmlns:a16="http://schemas.microsoft.com/office/drawing/2014/main" id="{145149AD-49B4-4CC5-4394-C907FACD6E21}"/>
                  </a:ext>
                </a:extLst>
              </p:cNvPr>
              <p:cNvGrpSpPr/>
              <p:nvPr/>
            </p:nvGrpSpPr>
            <p:grpSpPr>
              <a:xfrm>
                <a:off x="1867116" y="2989905"/>
                <a:ext cx="555874" cy="324089"/>
                <a:chOff x="1451051" y="2564790"/>
                <a:chExt cx="555874" cy="324089"/>
              </a:xfrm>
            </p:grpSpPr>
            <p:sp>
              <p:nvSpPr>
                <p:cNvPr id="10" name="Oval 9">
                  <a:extLst>
                    <a:ext uri="{FF2B5EF4-FFF2-40B4-BE49-F238E27FC236}">
                      <a16:creationId xmlns:a16="http://schemas.microsoft.com/office/drawing/2014/main" id="{83B812C7-2578-C2D9-F83D-B70268F495AA}"/>
                    </a:ext>
                  </a:extLst>
                </p:cNvPr>
                <p:cNvSpPr/>
                <p:nvPr/>
              </p:nvSpPr>
              <p:spPr>
                <a:xfrm>
                  <a:off x="1538048" y="2564790"/>
                  <a:ext cx="387265" cy="324089"/>
                </a:xfrm>
                <a:prstGeom prst="ellipse">
                  <a:avLst/>
                </a:prstGeom>
                <a:solidFill>
                  <a:schemeClr val="accent4"/>
                </a:solidFill>
                <a:ln w="12700"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1" name="TextBox 10">
                  <a:extLst>
                    <a:ext uri="{FF2B5EF4-FFF2-40B4-BE49-F238E27FC236}">
                      <a16:creationId xmlns:a16="http://schemas.microsoft.com/office/drawing/2014/main" id="{B0929EF7-E37F-0013-3AAD-E70061179695}"/>
                    </a:ext>
                  </a:extLst>
                </p:cNvPr>
                <p:cNvSpPr txBox="1"/>
                <p:nvPr/>
              </p:nvSpPr>
              <p:spPr>
                <a:xfrm>
                  <a:off x="1451051" y="2598866"/>
                  <a:ext cx="555874" cy="26161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1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E2F1</a:t>
                  </a:r>
                </a:p>
              </p:txBody>
            </p:sp>
          </p:grpSp>
          <p:sp>
            <p:nvSpPr>
              <p:cNvPr id="12" name="Oval 11">
                <a:extLst>
                  <a:ext uri="{FF2B5EF4-FFF2-40B4-BE49-F238E27FC236}">
                    <a16:creationId xmlns:a16="http://schemas.microsoft.com/office/drawing/2014/main" id="{6358A2CF-E964-2A83-F345-1AEB629781BB}"/>
                  </a:ext>
                </a:extLst>
              </p:cNvPr>
              <p:cNvSpPr/>
              <p:nvPr/>
            </p:nvSpPr>
            <p:spPr>
              <a:xfrm>
                <a:off x="1125242" y="3638918"/>
                <a:ext cx="692465" cy="299621"/>
              </a:xfrm>
              <a:prstGeom prst="ellipse">
                <a:avLst/>
              </a:prstGeom>
              <a:solidFill>
                <a:schemeClr val="accent5"/>
              </a:solidFill>
              <a:ln w="1270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6F5681E3-2CDD-E57E-A1E1-AC833609456C}"/>
                  </a:ext>
                </a:extLst>
              </p:cNvPr>
              <p:cNvSpPr txBox="1"/>
              <p:nvPr/>
            </p:nvSpPr>
            <p:spPr>
              <a:xfrm>
                <a:off x="1119881" y="3645561"/>
                <a:ext cx="692464" cy="27699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cdk4</a:t>
                </a:r>
              </a:p>
            </p:txBody>
          </p:sp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28DFF7DF-9530-CCB9-F4F6-2AF44DE73A25}"/>
                  </a:ext>
                </a:extLst>
              </p:cNvPr>
              <p:cNvSpPr/>
              <p:nvPr/>
            </p:nvSpPr>
            <p:spPr>
              <a:xfrm>
                <a:off x="1019348" y="3331462"/>
                <a:ext cx="932607" cy="303382"/>
              </a:xfrm>
              <a:prstGeom prst="ellipse">
                <a:avLst/>
              </a:prstGeom>
              <a:solidFill>
                <a:srgbClr val="660066"/>
              </a:solidFill>
              <a:ln w="1270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9EEDB800-CAAE-9EFC-6F15-BC7CC1131893}"/>
                  </a:ext>
                </a:extLst>
              </p:cNvPr>
              <p:cNvSpPr txBox="1"/>
              <p:nvPr/>
            </p:nvSpPr>
            <p:spPr>
              <a:xfrm>
                <a:off x="1013987" y="3338105"/>
                <a:ext cx="943329" cy="27699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cyclin-D2</a:t>
                </a:r>
              </a:p>
            </p:txBody>
          </p:sp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F2DB9AB0-24E5-B8C9-EDC0-CE6A2361C07E}"/>
                  </a:ext>
                </a:extLst>
              </p:cNvPr>
              <p:cNvSpPr txBox="1"/>
              <p:nvPr/>
            </p:nvSpPr>
            <p:spPr>
              <a:xfrm>
                <a:off x="1025802" y="5155594"/>
                <a:ext cx="2087922" cy="276999"/>
              </a:xfrm>
              <a:prstGeom prst="rect">
                <a:avLst/>
              </a:prstGeom>
              <a:solidFill>
                <a:srgbClr val="A5002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Cell proliferation</a:t>
                </a:r>
              </a:p>
            </p:txBody>
          </p:sp>
          <p:cxnSp>
            <p:nvCxnSpPr>
              <p:cNvPr id="33" name="Straight Arrow Connector 32">
                <a:extLst>
                  <a:ext uri="{FF2B5EF4-FFF2-40B4-BE49-F238E27FC236}">
                    <a16:creationId xmlns:a16="http://schemas.microsoft.com/office/drawing/2014/main" id="{AF05AA89-1D5D-04FE-FC03-3635F85D7C0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464965" y="2903327"/>
                <a:ext cx="425225" cy="367855"/>
              </a:xfrm>
              <a:prstGeom prst="straightConnector1">
                <a:avLst/>
              </a:prstGeom>
              <a:ln w="12700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Arrow Connector 35">
                <a:extLst>
                  <a:ext uri="{FF2B5EF4-FFF2-40B4-BE49-F238E27FC236}">
                    <a16:creationId xmlns:a16="http://schemas.microsoft.com/office/drawing/2014/main" id="{52CD3E95-DB98-6F6E-F6A8-575C353CF25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031819" y="4196074"/>
                <a:ext cx="0" cy="250681"/>
              </a:xfrm>
              <a:prstGeom prst="straightConnector1">
                <a:avLst/>
              </a:prstGeom>
              <a:ln w="12700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Arrow Connector 36">
                <a:extLst>
                  <a:ext uri="{FF2B5EF4-FFF2-40B4-BE49-F238E27FC236}">
                    <a16:creationId xmlns:a16="http://schemas.microsoft.com/office/drawing/2014/main" id="{FAF2B9B9-5255-6331-8E40-FFE691A052B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145053" y="2904556"/>
                <a:ext cx="435578" cy="385321"/>
              </a:xfrm>
              <a:prstGeom prst="straightConnector1">
                <a:avLst/>
              </a:prstGeom>
              <a:ln w="12700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Arrow Connector 37">
                <a:extLst>
                  <a:ext uri="{FF2B5EF4-FFF2-40B4-BE49-F238E27FC236}">
                    <a16:creationId xmlns:a16="http://schemas.microsoft.com/office/drawing/2014/main" id="{F83DB05E-AFDD-AF87-1B53-E52F65DD6B1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588426" y="2314306"/>
                <a:ext cx="181249" cy="208707"/>
              </a:xfrm>
              <a:prstGeom prst="straightConnector1">
                <a:avLst/>
              </a:prstGeom>
              <a:ln w="12700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3" name="Group 2">
                <a:extLst>
                  <a:ext uri="{FF2B5EF4-FFF2-40B4-BE49-F238E27FC236}">
                    <a16:creationId xmlns:a16="http://schemas.microsoft.com/office/drawing/2014/main" id="{B016B7A0-36D7-B9D5-04A1-A72396957DC4}"/>
                  </a:ext>
                </a:extLst>
              </p:cNvPr>
              <p:cNvGrpSpPr/>
              <p:nvPr/>
            </p:nvGrpSpPr>
            <p:grpSpPr>
              <a:xfrm>
                <a:off x="1675756" y="2603706"/>
                <a:ext cx="697826" cy="299621"/>
                <a:chOff x="1560662" y="4493367"/>
                <a:chExt cx="697826" cy="299621"/>
              </a:xfrm>
            </p:grpSpPr>
            <p:sp>
              <p:nvSpPr>
                <p:cNvPr id="67" name="Oval 66">
                  <a:extLst>
                    <a:ext uri="{FF2B5EF4-FFF2-40B4-BE49-F238E27FC236}">
                      <a16:creationId xmlns:a16="http://schemas.microsoft.com/office/drawing/2014/main" id="{F9B74711-2279-5788-3620-AB104ED907CB}"/>
                    </a:ext>
                  </a:extLst>
                </p:cNvPr>
                <p:cNvSpPr/>
                <p:nvPr/>
              </p:nvSpPr>
              <p:spPr>
                <a:xfrm>
                  <a:off x="1566023" y="4493367"/>
                  <a:ext cx="692465" cy="299621"/>
                </a:xfrm>
                <a:prstGeom prst="ellipse">
                  <a:avLst/>
                </a:prstGeom>
                <a:solidFill>
                  <a:schemeClr val="accent6">
                    <a:lumMod val="50000"/>
                  </a:schemeClr>
                </a:solidFill>
                <a:ln w="12700"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68" name="TextBox 67">
                  <a:extLst>
                    <a:ext uri="{FF2B5EF4-FFF2-40B4-BE49-F238E27FC236}">
                      <a16:creationId xmlns:a16="http://schemas.microsoft.com/office/drawing/2014/main" id="{C2ADF917-2112-E2C4-A393-0E5D20B483DB}"/>
                    </a:ext>
                  </a:extLst>
                </p:cNvPr>
                <p:cNvSpPr txBox="1"/>
                <p:nvPr/>
              </p:nvSpPr>
              <p:spPr>
                <a:xfrm>
                  <a:off x="1560662" y="4500010"/>
                  <a:ext cx="692464" cy="276999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120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c-</a:t>
                  </a:r>
                  <a:r>
                    <a:rPr kumimoji="0" lang="en-US" sz="1200" b="1" i="0" u="none" strike="noStrike" kern="1200" cap="none" spc="0" normalizeH="0" baseline="0" noProof="0" err="1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Myc</a:t>
                  </a:r>
                  <a:endParaRPr kumimoji="0" lang="en-US" sz="12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89" name="TextBox 88">
                <a:extLst>
                  <a:ext uri="{FF2B5EF4-FFF2-40B4-BE49-F238E27FC236}">
                    <a16:creationId xmlns:a16="http://schemas.microsoft.com/office/drawing/2014/main" id="{48A5DE82-AF3A-9653-5192-BFF3305D9A08}"/>
                  </a:ext>
                </a:extLst>
              </p:cNvPr>
              <p:cNvSpPr txBox="1"/>
              <p:nvPr/>
            </p:nvSpPr>
            <p:spPr>
              <a:xfrm>
                <a:off x="3157828" y="2601021"/>
                <a:ext cx="1947583" cy="461665"/>
              </a:xfrm>
              <a:prstGeom prst="rect">
                <a:avLst/>
              </a:prstGeom>
              <a:solidFill>
                <a:srgbClr val="A5002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Genomic instability &amp; tumor development</a:t>
                </a:r>
              </a:p>
            </p:txBody>
          </p:sp>
          <p:grpSp>
            <p:nvGrpSpPr>
              <p:cNvPr id="95" name="Group 94">
                <a:extLst>
                  <a:ext uri="{FF2B5EF4-FFF2-40B4-BE49-F238E27FC236}">
                    <a16:creationId xmlns:a16="http://schemas.microsoft.com/office/drawing/2014/main" id="{669DF044-5DB4-05A8-934C-514E9078694D}"/>
                  </a:ext>
                </a:extLst>
              </p:cNvPr>
              <p:cNvGrpSpPr/>
              <p:nvPr/>
            </p:nvGrpSpPr>
            <p:grpSpPr>
              <a:xfrm>
                <a:off x="1667229" y="4481691"/>
                <a:ext cx="1031810" cy="320331"/>
                <a:chOff x="4803929" y="4039401"/>
                <a:chExt cx="861088" cy="267330"/>
              </a:xfrm>
            </p:grpSpPr>
            <p:sp>
              <p:nvSpPr>
                <p:cNvPr id="96" name="Rectangle: Rounded Corners 95">
                  <a:extLst>
                    <a:ext uri="{FF2B5EF4-FFF2-40B4-BE49-F238E27FC236}">
                      <a16:creationId xmlns:a16="http://schemas.microsoft.com/office/drawing/2014/main" id="{F64C1782-BE61-B7C1-4880-614A4A0F02FF}"/>
                    </a:ext>
                  </a:extLst>
                </p:cNvPr>
                <p:cNvSpPr/>
                <p:nvPr/>
              </p:nvSpPr>
              <p:spPr>
                <a:xfrm>
                  <a:off x="4803929" y="4039401"/>
                  <a:ext cx="671863" cy="267330"/>
                </a:xfrm>
                <a:prstGeom prst="roundRect">
                  <a:avLst/>
                </a:prstGeom>
                <a:solidFill>
                  <a:srgbClr val="660066"/>
                </a:solidFill>
                <a:ln w="12700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97" name="TextBox 96">
                  <a:extLst>
                    <a:ext uri="{FF2B5EF4-FFF2-40B4-BE49-F238E27FC236}">
                      <a16:creationId xmlns:a16="http://schemas.microsoft.com/office/drawing/2014/main" id="{3ED3BAEF-47C6-8BB4-82A9-EDC8612322D8}"/>
                    </a:ext>
                  </a:extLst>
                </p:cNvPr>
                <p:cNvSpPr txBox="1"/>
                <p:nvPr/>
              </p:nvSpPr>
              <p:spPr>
                <a:xfrm>
                  <a:off x="4877770" y="4050308"/>
                  <a:ext cx="787247" cy="231168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120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p27</a:t>
                  </a:r>
                  <a:r>
                    <a:rPr kumimoji="0" lang="en-US" sz="1200" b="1" i="0" u="none" strike="noStrike" kern="1200" cap="none" spc="0" normalizeH="0" baseline="3000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klp1</a:t>
                  </a:r>
                </a:p>
              </p:txBody>
            </p:sp>
          </p:grpSp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AAC20091-DD16-5804-10AB-312DBCDD74BC}"/>
                  </a:ext>
                </a:extLst>
              </p:cNvPr>
              <p:cNvSpPr/>
              <p:nvPr/>
            </p:nvSpPr>
            <p:spPr>
              <a:xfrm>
                <a:off x="2192789" y="3633909"/>
                <a:ext cx="692465" cy="299621"/>
              </a:xfrm>
              <a:prstGeom prst="ellipse">
                <a:avLst/>
              </a:prstGeom>
              <a:solidFill>
                <a:schemeClr val="accent5"/>
              </a:solidFill>
              <a:ln w="1270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9" name="TextBox 98">
                <a:extLst>
                  <a:ext uri="{FF2B5EF4-FFF2-40B4-BE49-F238E27FC236}">
                    <a16:creationId xmlns:a16="http://schemas.microsoft.com/office/drawing/2014/main" id="{04198998-1D3F-35AC-B310-21205FE6C8F5}"/>
                  </a:ext>
                </a:extLst>
              </p:cNvPr>
              <p:cNvSpPr txBox="1"/>
              <p:nvPr/>
            </p:nvSpPr>
            <p:spPr>
              <a:xfrm>
                <a:off x="2187428" y="3640552"/>
                <a:ext cx="692464" cy="27699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cdk2</a:t>
                </a:r>
              </a:p>
            </p:txBody>
          </p:sp>
          <p:sp>
            <p:nvSpPr>
              <p:cNvPr id="100" name="Oval 99">
                <a:extLst>
                  <a:ext uri="{FF2B5EF4-FFF2-40B4-BE49-F238E27FC236}">
                    <a16:creationId xmlns:a16="http://schemas.microsoft.com/office/drawing/2014/main" id="{7A613EFA-DED4-65E7-9AFD-8720EB778D89}"/>
                  </a:ext>
                </a:extLst>
              </p:cNvPr>
              <p:cNvSpPr/>
              <p:nvPr/>
            </p:nvSpPr>
            <p:spPr>
              <a:xfrm>
                <a:off x="2086895" y="3326453"/>
                <a:ext cx="932607" cy="303382"/>
              </a:xfrm>
              <a:prstGeom prst="ellipse">
                <a:avLst/>
              </a:prstGeom>
              <a:solidFill>
                <a:srgbClr val="660066"/>
              </a:solidFill>
              <a:ln w="1270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1" name="TextBox 100">
                <a:extLst>
                  <a:ext uri="{FF2B5EF4-FFF2-40B4-BE49-F238E27FC236}">
                    <a16:creationId xmlns:a16="http://schemas.microsoft.com/office/drawing/2014/main" id="{90EFE33A-F3B2-D5B2-4430-D778C7F91FCA}"/>
                  </a:ext>
                </a:extLst>
              </p:cNvPr>
              <p:cNvSpPr txBox="1"/>
              <p:nvPr/>
            </p:nvSpPr>
            <p:spPr>
              <a:xfrm>
                <a:off x="2081534" y="3333096"/>
                <a:ext cx="943329" cy="27699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cyclin-E</a:t>
                </a:r>
              </a:p>
            </p:txBody>
          </p:sp>
          <p:cxnSp>
            <p:nvCxnSpPr>
              <p:cNvPr id="104" name="Straight Connector 103">
                <a:extLst>
                  <a:ext uri="{FF2B5EF4-FFF2-40B4-BE49-F238E27FC236}">
                    <a16:creationId xmlns:a16="http://schemas.microsoft.com/office/drawing/2014/main" id="{66C44C6D-E854-AD1C-8C94-C8F964DC588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606533" y="3957496"/>
                <a:ext cx="425286" cy="238578"/>
              </a:xfrm>
              <a:prstGeom prst="line">
                <a:avLst/>
              </a:prstGeom>
              <a:ln w="12700">
                <a:solidFill>
                  <a:schemeClr val="tx1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Straight Connector 104">
                <a:extLst>
                  <a:ext uri="{FF2B5EF4-FFF2-40B4-BE49-F238E27FC236}">
                    <a16:creationId xmlns:a16="http://schemas.microsoft.com/office/drawing/2014/main" id="{FA1E18EA-AA8E-67E8-ABF9-E97AA5E71B6C}"/>
                  </a:ext>
                </a:extLst>
              </p:cNvPr>
              <p:cNvCxnSpPr>
                <a:cxnSpLocks/>
                <a:endCxn id="98" idx="4"/>
              </p:cNvCxnSpPr>
              <p:nvPr/>
            </p:nvCxnSpPr>
            <p:spPr>
              <a:xfrm flipV="1">
                <a:off x="2021988" y="3933530"/>
                <a:ext cx="517034" cy="264348"/>
              </a:xfrm>
              <a:prstGeom prst="line">
                <a:avLst/>
              </a:prstGeom>
              <a:ln w="12700">
                <a:solidFill>
                  <a:schemeClr val="tx1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15" name="Group 114">
                <a:extLst>
                  <a:ext uri="{FF2B5EF4-FFF2-40B4-BE49-F238E27FC236}">
                    <a16:creationId xmlns:a16="http://schemas.microsoft.com/office/drawing/2014/main" id="{5AB4ED85-B1A1-80AC-A70B-9B76C2C473CF}"/>
                  </a:ext>
                </a:extLst>
              </p:cNvPr>
              <p:cNvGrpSpPr/>
              <p:nvPr/>
            </p:nvGrpSpPr>
            <p:grpSpPr>
              <a:xfrm>
                <a:off x="2436504" y="4459426"/>
                <a:ext cx="210787" cy="244572"/>
                <a:chOff x="2031482" y="3362219"/>
                <a:chExt cx="210787" cy="244572"/>
              </a:xfrm>
            </p:grpSpPr>
            <p:sp>
              <p:nvSpPr>
                <p:cNvPr id="116" name="Oval 115">
                  <a:extLst>
                    <a:ext uri="{FF2B5EF4-FFF2-40B4-BE49-F238E27FC236}">
                      <a16:creationId xmlns:a16="http://schemas.microsoft.com/office/drawing/2014/main" id="{375A03F3-30A7-25D7-8F34-873BC3829B5E}"/>
                    </a:ext>
                  </a:extLst>
                </p:cNvPr>
                <p:cNvSpPr/>
                <p:nvPr/>
              </p:nvSpPr>
              <p:spPr>
                <a:xfrm>
                  <a:off x="2031482" y="3379427"/>
                  <a:ext cx="210787" cy="219411"/>
                </a:xfrm>
                <a:prstGeom prst="ellipse">
                  <a:avLst/>
                </a:prstGeom>
                <a:solidFill>
                  <a:srgbClr val="FFFF00"/>
                </a:solidFill>
                <a:ln w="12700"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17" name="TextBox 116">
                  <a:extLst>
                    <a:ext uri="{FF2B5EF4-FFF2-40B4-BE49-F238E27FC236}">
                      <a16:creationId xmlns:a16="http://schemas.microsoft.com/office/drawing/2014/main" id="{4A197CD5-0D45-300C-D098-62FE8E99A562}"/>
                    </a:ext>
                  </a:extLst>
                </p:cNvPr>
                <p:cNvSpPr txBox="1"/>
                <p:nvPr/>
              </p:nvSpPr>
              <p:spPr>
                <a:xfrm>
                  <a:off x="2065875" y="3362219"/>
                  <a:ext cx="144588" cy="244572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P</a:t>
                  </a:r>
                </a:p>
              </p:txBody>
            </p:sp>
          </p:grpSp>
          <p:cxnSp>
            <p:nvCxnSpPr>
              <p:cNvPr id="134" name="Straight Arrow Connector 133">
                <a:extLst>
                  <a:ext uri="{FF2B5EF4-FFF2-40B4-BE49-F238E27FC236}">
                    <a16:creationId xmlns:a16="http://schemas.microsoft.com/office/drawing/2014/main" id="{B51062C0-DB2E-7211-DCC9-C10ED43D85E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242228" y="2283368"/>
                <a:ext cx="342452" cy="289167"/>
              </a:xfrm>
              <a:prstGeom prst="straightConnector1">
                <a:avLst/>
              </a:prstGeom>
              <a:ln w="12700">
                <a:solidFill>
                  <a:schemeClr val="tx1"/>
                </a:solidFill>
                <a:headEnd type="triangl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42" name="Straight Arrow Connector 41">
              <a:extLst>
                <a:ext uri="{FF2B5EF4-FFF2-40B4-BE49-F238E27FC236}">
                  <a16:creationId xmlns:a16="http://schemas.microsoft.com/office/drawing/2014/main" id="{56C627CC-73F5-8D69-152F-A7137F1A2632}"/>
                </a:ext>
              </a:extLst>
            </p:cNvPr>
            <p:cNvCxnSpPr>
              <a:cxnSpLocks/>
            </p:cNvCxnSpPr>
            <p:nvPr/>
          </p:nvCxnSpPr>
          <p:spPr>
            <a:xfrm>
              <a:off x="1645967" y="5175747"/>
              <a:ext cx="0" cy="250681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1" name="TextBox 40">
            <a:extLst>
              <a:ext uri="{FF2B5EF4-FFF2-40B4-BE49-F238E27FC236}">
                <a16:creationId xmlns:a16="http://schemas.microsoft.com/office/drawing/2014/main" id="{BA173199-1011-A465-B284-EBB3DD3A5607}"/>
              </a:ext>
            </a:extLst>
          </p:cNvPr>
          <p:cNvSpPr txBox="1"/>
          <p:nvPr/>
        </p:nvSpPr>
        <p:spPr>
          <a:xfrm>
            <a:off x="6632154" y="6580158"/>
            <a:ext cx="478790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aso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FD Oncogene 2021, Tang A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ncotarget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2017</a:t>
            </a:r>
          </a:p>
        </p:txBody>
      </p:sp>
    </p:spTree>
    <p:extLst>
      <p:ext uri="{BB962C8B-B14F-4D97-AF65-F5344CB8AC3E}">
        <p14:creationId xmlns:p14="http://schemas.microsoft.com/office/powerpoint/2010/main" val="98964244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434247-8283-1885-EB65-EE781B67AE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ALISCA™-Breast1</a:t>
            </a:r>
            <a:br>
              <a:rPr lang="en-US" dirty="0"/>
            </a:br>
            <a:r>
              <a:rPr lang="en-US" dirty="0"/>
              <a:t>Phase II dose optimization, biomarker evaluation in HR+/HER- MBC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B8C4E8D-45BA-D9E7-9C8A-0F190D879F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5603" y="1339572"/>
            <a:ext cx="4191488" cy="4022541"/>
          </a:xfrm>
          <a:prstGeom prst="rect">
            <a:avLst/>
          </a:prstGeom>
          <a:solidFill>
            <a:srgbClr val="315978"/>
          </a:solidFill>
          <a:ln>
            <a:noFill/>
          </a:ln>
          <a:effectLst>
            <a:outerShdw blurRad="50800" dist="38100" dir="2700000" algn="tl" rotWithShape="0">
              <a:srgbClr val="808080">
                <a:alpha val="39998"/>
              </a:srgbClr>
            </a:outerShdw>
          </a:effectLst>
          <a:extLst>
            <a:ext uri="{91240B29-F687-4F45-9708-019B960494DF}">
              <a14:hiddenLine xmlns:a14="http://schemas.microsoft.com/office/drawing/2010/main" w="381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40" tIns="45720" rIns="91440" bIns="45720" anchor="ctr"/>
          <a:lstStyle>
            <a:lvl1pPr marL="182563" indent="-182563" defTabSz="457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358775" indent="-182563" defTabSz="457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defTabSz="457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defTabSz="457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defTabSz="457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altLang="en-US" sz="17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MS PGothic"/>
                <a:cs typeface="Arial"/>
              </a:rPr>
              <a:t>Key inclusion criteria:</a:t>
            </a:r>
          </a:p>
          <a:p>
            <a:pPr marL="182245" marR="0" lvl="0" indent="-182245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altLang="en-US" sz="1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  <a:p>
            <a:pPr marL="166370" marR="0" lvl="0" indent="-166370" algn="l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MS PGothic"/>
                <a:cs typeface="+mn-cs"/>
              </a:rPr>
              <a:t>HR+/HER2-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MS PGothic"/>
                <a:cs typeface="+mn-cs"/>
              </a:rPr>
              <a:t>mBC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MS PGothic"/>
                <a:cs typeface="+mn-cs"/>
              </a:rPr>
              <a:t> patients who have received at least 2 prior lines of endocrine therapy in the recurrent or metastatic setting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MS PGothic"/>
              <a:cs typeface="Arial"/>
            </a:endParaRPr>
          </a:p>
          <a:p>
            <a:pPr marL="461645" marR="0" lvl="1" indent="-285750" algn="l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MS PGothic"/>
                <a:cs typeface="+mn-cs"/>
              </a:rPr>
              <a:t>Must have received CDK4/6 inhibitors with endocrine therapy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MS PGothic"/>
              <a:cs typeface="Arial"/>
            </a:endParaRPr>
          </a:p>
          <a:p>
            <a:pPr marL="461645" marR="0" lvl="1" indent="-285750" algn="l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MS PGothic"/>
                <a:cs typeface="+mn-cs"/>
              </a:rPr>
              <a:t>Disease recurrence while receiving endocrine therapy in the adjuvant setting will count toward prior line of endocrine therapy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MS PGothic" panose="020B0600070205080204" pitchFamily="34" charset="-128"/>
              <a:cs typeface="Arial"/>
            </a:endParaRPr>
          </a:p>
          <a:p>
            <a:pPr marL="166370" marR="0" lvl="0" indent="-166370" algn="l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MS PGothic"/>
                <a:cs typeface="+mn-cs"/>
              </a:rPr>
              <a:t>RECIST v1.1 evaluable disease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MS PGothic"/>
              <a:cs typeface="Arial"/>
            </a:endParaRPr>
          </a:p>
          <a:p>
            <a:pPr marL="166370" marR="0" lvl="0" indent="-166370" algn="l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MS PGothic"/>
                <a:cs typeface="+mn-cs"/>
              </a:rPr>
              <a:t>No prior chemotherapy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MS PGothic"/>
              <a:cs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A9250CB-67A0-DDB3-8192-A50530FD3CCF}"/>
              </a:ext>
            </a:extLst>
          </p:cNvPr>
          <p:cNvSpPr/>
          <p:nvPr/>
        </p:nvSpPr>
        <p:spPr>
          <a:xfrm>
            <a:off x="7822455" y="1416200"/>
            <a:ext cx="3975623" cy="1097280"/>
          </a:xfrm>
          <a:prstGeom prst="rect">
            <a:avLst/>
          </a:prstGeom>
          <a:solidFill>
            <a:schemeClr val="accent3">
              <a:lumMod val="25000"/>
            </a:schemeClr>
          </a:solidFill>
          <a:ln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91440" tIns="45720" rIns="91440" bIns="4572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rm 1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isertib 50 mg BID on Days 1-3, 8-10, 15-17 of a 28-day cycle + Endocrin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233C7B1-363D-BDC2-222F-87ED4C86EA35}"/>
              </a:ext>
            </a:extLst>
          </p:cNvPr>
          <p:cNvSpPr/>
          <p:nvPr/>
        </p:nvSpPr>
        <p:spPr>
          <a:xfrm>
            <a:off x="7852112" y="4182052"/>
            <a:ext cx="3975624" cy="1097280"/>
          </a:xfrm>
          <a:prstGeom prst="rect">
            <a:avLst/>
          </a:prstGeom>
          <a:solidFill>
            <a:schemeClr val="accent3">
              <a:lumMod val="25000"/>
            </a:schemeClr>
          </a:solidFill>
          <a:ln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91440" tIns="45720" rIns="91440" bIns="4572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rm 3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isertib 30 mg BID on Days 1-3, 8-10, 15-17 of a 28-day cycle + Endocrin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422E7F3-97AA-26AB-367F-551B7FCA81BA}"/>
              </a:ext>
            </a:extLst>
          </p:cNvPr>
          <p:cNvSpPr/>
          <p:nvPr/>
        </p:nvSpPr>
        <p:spPr>
          <a:xfrm rot="16200000">
            <a:off x="5725120" y="3181844"/>
            <a:ext cx="2687118" cy="337995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>
            <a:scene3d>
              <a:camera prst="orthographicFront">
                <a:rot lat="0" lon="0" rev="0"/>
              </a:camera>
              <a:lightRig rig="threePt" dir="t"/>
            </a:scene3d>
          </a:bodyPr>
          <a:lstStyle/>
          <a:p>
            <a:pPr marL="0" marR="0" lvl="0" indent="0" algn="ctr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:1:1 RANDOMIZATION</a:t>
            </a:r>
          </a:p>
        </p:txBody>
      </p:sp>
      <p:cxnSp>
        <p:nvCxnSpPr>
          <p:cNvPr id="13" name="Straight Arrow Connector 13">
            <a:extLst>
              <a:ext uri="{FF2B5EF4-FFF2-40B4-BE49-F238E27FC236}">
                <a16:creationId xmlns:a16="http://schemas.microsoft.com/office/drawing/2014/main" id="{F3ABAE94-DE8C-BEE8-7046-8E93E9E04224}"/>
              </a:ext>
            </a:extLst>
          </p:cNvPr>
          <p:cNvCxnSpPr>
            <a:cxnSpLocks noChangeShapeType="1"/>
            <a:stCxn id="10" idx="3"/>
            <a:endCxn id="12" idx="0"/>
          </p:cNvCxnSpPr>
          <p:nvPr/>
        </p:nvCxnSpPr>
        <p:spPr bwMode="auto">
          <a:xfrm flipV="1">
            <a:off x="4327091" y="3350842"/>
            <a:ext cx="2572591" cy="1"/>
          </a:xfrm>
          <a:prstGeom prst="straightConnector1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9" name="Content Placeholder 4">
            <a:extLst>
              <a:ext uri="{FF2B5EF4-FFF2-40B4-BE49-F238E27FC236}">
                <a16:creationId xmlns:a16="http://schemas.microsoft.com/office/drawing/2014/main" id="{1EFC3993-45FF-F79C-BFFC-788FCDBFEA99}"/>
              </a:ext>
            </a:extLst>
          </p:cNvPr>
          <p:cNvSpPr txBox="1">
            <a:spLocks noChangeArrowheads="1"/>
          </p:cNvSpPr>
          <p:nvPr/>
        </p:nvSpPr>
        <p:spPr>
          <a:xfrm>
            <a:off x="344992" y="5645109"/>
            <a:ext cx="11735816" cy="79200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FontTx/>
              <a:buBlip>
                <a:blip r:embed="rId3"/>
              </a:buBlip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27063" indent="-28257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–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-287338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201738" indent="-287338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–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484313" indent="-28257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376092"/>
              </a:buClr>
              <a:buSzTx/>
              <a:buFont typeface="Arial" panose="020B0604020202020204" pitchFamily="34" charset="0"/>
              <a:buNone/>
              <a:tabLst>
                <a:tab pos="2225675" algn="l"/>
              </a:tabLst>
              <a:defRPr/>
            </a:pPr>
            <a:r>
              <a:rPr kumimoji="0" lang="en-US" alt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Primary objective:</a:t>
            </a:r>
            <a:r>
              <a:rPr kumimoji="0" lang="en-US" alt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		Dose optimization in combination based on safety and efficacy (ORR, DOR, DCR, PFS)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376092"/>
              </a:buClr>
              <a:buSzTx/>
              <a:buFont typeface="Arial" panose="020B0604020202020204" pitchFamily="34" charset="0"/>
              <a:buNone/>
              <a:tabLst>
                <a:tab pos="2225675" algn="l"/>
              </a:tabLst>
              <a:defRPr/>
            </a:pPr>
            <a:r>
              <a:rPr kumimoji="0" lang="en-US" alt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econdary objective: </a:t>
            </a:r>
            <a:r>
              <a:rPr kumimoji="0" lang="en-US" alt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		PK/Dose response, biomarker selection based on efficacy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376092"/>
              </a:buClr>
              <a:buSzTx/>
              <a:buFont typeface="Arial" panose="020B0604020202020204" pitchFamily="34" charset="0"/>
              <a:buNone/>
              <a:tabLst>
                <a:tab pos="2225675" algn="l"/>
              </a:tabLst>
              <a:defRPr/>
            </a:pPr>
            <a:endParaRPr kumimoji="0" lang="en-US" alt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9E096024-8FB9-1592-7E18-7AC821BFB9FB}"/>
              </a:ext>
            </a:extLst>
          </p:cNvPr>
          <p:cNvCxnSpPr>
            <a:cxnSpLocks/>
            <a:stCxn id="12" idx="2"/>
            <a:endCxn id="3" idx="1"/>
          </p:cNvCxnSpPr>
          <p:nvPr/>
        </p:nvCxnSpPr>
        <p:spPr>
          <a:xfrm flipV="1">
            <a:off x="7237677" y="1964840"/>
            <a:ext cx="584778" cy="1386002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75B8DC52-80D4-E3DA-42A2-514CEA802B6B}"/>
              </a:ext>
            </a:extLst>
          </p:cNvPr>
          <p:cNvCxnSpPr>
            <a:cxnSpLocks/>
            <a:stCxn id="12" idx="2"/>
            <a:endCxn id="4" idx="1"/>
          </p:cNvCxnSpPr>
          <p:nvPr/>
        </p:nvCxnSpPr>
        <p:spPr>
          <a:xfrm>
            <a:off x="7237677" y="3350842"/>
            <a:ext cx="614435" cy="137985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8DAD193E-E77E-D9FC-B0AD-A42931132D7A}"/>
              </a:ext>
            </a:extLst>
          </p:cNvPr>
          <p:cNvSpPr txBox="1"/>
          <p:nvPr/>
        </p:nvSpPr>
        <p:spPr>
          <a:xfrm>
            <a:off x="6420609" y="4861977"/>
            <a:ext cx="129613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 = up to 150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6EC44F47-DA74-80C9-3015-EFE3E966F2DC}"/>
              </a:ext>
            </a:extLst>
          </p:cNvPr>
          <p:cNvSpPr/>
          <p:nvPr/>
        </p:nvSpPr>
        <p:spPr>
          <a:xfrm>
            <a:off x="4743450" y="1993928"/>
            <a:ext cx="1652476" cy="2687119"/>
          </a:xfrm>
          <a:prstGeom prst="rect">
            <a:avLst/>
          </a:prstGeom>
          <a:solidFill>
            <a:schemeClr val="accent5">
              <a:lumMod val="75000"/>
            </a:schemeClr>
          </a:solidFill>
          <a:ln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91440" tIns="45720" rIns="91440" bIns="4572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ratification factor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Investigator selected subclass of endocrine partner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I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anastrozole, exemestane, letrozole)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RD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ulvestrant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) OR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RM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tamoxifen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8AF9AEF-BBF9-2506-9F05-B5E22A6589EF}"/>
              </a:ext>
            </a:extLst>
          </p:cNvPr>
          <p:cNvSpPr/>
          <p:nvPr/>
        </p:nvSpPr>
        <p:spPr>
          <a:xfrm>
            <a:off x="7852112" y="2796476"/>
            <a:ext cx="3975623" cy="1097280"/>
          </a:xfrm>
          <a:prstGeom prst="rect">
            <a:avLst/>
          </a:prstGeom>
          <a:solidFill>
            <a:schemeClr val="accent3">
              <a:lumMod val="25000"/>
            </a:schemeClr>
          </a:solidFill>
          <a:ln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91440" tIns="45720" rIns="91440" bIns="4572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rm 2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isertib 40 mg BID on Days 1-3, 8-10, 15-17 of a 28-day cycle + Endocrine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69612547-266F-F18C-3B9B-34FC4DD3730F}"/>
              </a:ext>
            </a:extLst>
          </p:cNvPr>
          <p:cNvCxnSpPr>
            <a:cxnSpLocks/>
            <a:stCxn id="12" idx="2"/>
            <a:endCxn id="6" idx="1"/>
          </p:cNvCxnSpPr>
          <p:nvPr/>
        </p:nvCxnSpPr>
        <p:spPr>
          <a:xfrm flipV="1">
            <a:off x="7237677" y="3345116"/>
            <a:ext cx="614435" cy="5726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41531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232BC7E-D2D2-5041-0384-135E52E810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53D857-31A8-80C2-7B89-16F9742280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ALISCA</a:t>
            </a:r>
            <a:r>
              <a:rPr lang="en-US" baseline="30000" dirty="0"/>
              <a:t>TM</a:t>
            </a:r>
            <a:r>
              <a:rPr lang="en-US" dirty="0"/>
              <a:t>-Breast1 Summary of Prior Metastatic Anti-cancer Therapy</a:t>
            </a:r>
          </a:p>
        </p:txBody>
      </p:sp>
      <p:graphicFrame>
        <p:nvGraphicFramePr>
          <p:cNvPr id="14" name="Content Placeholder 13">
            <a:extLst>
              <a:ext uri="{FF2B5EF4-FFF2-40B4-BE49-F238E27FC236}">
                <a16:creationId xmlns:a16="http://schemas.microsoft.com/office/drawing/2014/main" id="{C6BB721E-5CF1-9C12-7386-636BB32DC24B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609601" y="1176993"/>
          <a:ext cx="10972799" cy="4082296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4076699">
                  <a:extLst>
                    <a:ext uri="{9D8B030D-6E8A-4147-A177-3AD203B41FA5}">
                      <a16:colId xmlns:a16="http://schemas.microsoft.com/office/drawing/2014/main" val="1353936586"/>
                    </a:ext>
                  </a:extLst>
                </a:gridCol>
                <a:gridCol w="1724025">
                  <a:extLst>
                    <a:ext uri="{9D8B030D-6E8A-4147-A177-3AD203B41FA5}">
                      <a16:colId xmlns:a16="http://schemas.microsoft.com/office/drawing/2014/main" val="3343845125"/>
                    </a:ext>
                  </a:extLst>
                </a:gridCol>
                <a:gridCol w="1724025">
                  <a:extLst>
                    <a:ext uri="{9D8B030D-6E8A-4147-A177-3AD203B41FA5}">
                      <a16:colId xmlns:a16="http://schemas.microsoft.com/office/drawing/2014/main" val="1503232551"/>
                    </a:ext>
                  </a:extLst>
                </a:gridCol>
                <a:gridCol w="1724025">
                  <a:extLst>
                    <a:ext uri="{9D8B030D-6E8A-4147-A177-3AD203B41FA5}">
                      <a16:colId xmlns:a16="http://schemas.microsoft.com/office/drawing/2014/main" val="166707752"/>
                    </a:ext>
                  </a:extLst>
                </a:gridCol>
                <a:gridCol w="1724025">
                  <a:extLst>
                    <a:ext uri="{9D8B030D-6E8A-4147-A177-3AD203B41FA5}">
                      <a16:colId xmlns:a16="http://schemas.microsoft.com/office/drawing/2014/main" val="3785157595"/>
                    </a:ext>
                  </a:extLst>
                </a:gridCol>
              </a:tblGrid>
              <a:tr h="45720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endParaRPr lang="en-US" sz="1400" kern="10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50 mg BID</a:t>
                      </a:r>
                      <a:br>
                        <a:rPr lang="en-US" sz="1400" kern="10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</a:br>
                      <a:r>
                        <a:rPr lang="en-US" sz="1400" kern="10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(N=54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40 mg BID</a:t>
                      </a:r>
                      <a:br>
                        <a:rPr lang="en-US" sz="1400" kern="10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</a:br>
                      <a:r>
                        <a:rPr lang="en-US" sz="1400" kern="10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(N=55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30 mg BID</a:t>
                      </a:r>
                      <a:br>
                        <a:rPr lang="en-US" sz="1400" kern="10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</a:br>
                      <a:r>
                        <a:rPr lang="en-US" sz="1400" kern="10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(N=55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Total</a:t>
                      </a:r>
                      <a:br>
                        <a:rPr lang="en-US" sz="1400" kern="10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</a:br>
                      <a:r>
                        <a:rPr lang="en-US" sz="1400" kern="10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(N=164)</a:t>
                      </a: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2168304462"/>
                  </a:ext>
                </a:extLst>
              </a:tr>
              <a:tr h="186338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3328889555"/>
                  </a:ext>
                </a:extLst>
              </a:tr>
              <a:tr h="186338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Subjects with metastatic anti-cancer medication – n (%)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50 (92.6)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51 (92.7)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51 (92.7)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52 (92.7)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/>
                </a:tc>
                <a:extLst>
                  <a:ext uri="{0D108BD9-81ED-4DB2-BD59-A6C34878D82A}">
                    <a16:rowId xmlns:a16="http://schemas.microsoft.com/office/drawing/2014/main" val="373859649"/>
                  </a:ext>
                </a:extLst>
              </a:tr>
              <a:tr h="186338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endParaRPr lang="en-US" sz="1400" kern="10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endParaRPr lang="en-US" sz="1400" kern="10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endParaRPr lang="en-US" sz="1400" kern="10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endParaRPr lang="en-US" sz="1400" kern="10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1452345945"/>
                  </a:ext>
                </a:extLst>
              </a:tr>
              <a:tr h="186338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  Prior metastatic endocrine – n (%)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50 (92.6)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51 (92.7)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51 (92.7)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52 (92.7)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/>
                </a:tc>
                <a:extLst>
                  <a:ext uri="{0D108BD9-81ED-4DB2-BD59-A6C34878D82A}">
                    <a16:rowId xmlns:a16="http://schemas.microsoft.com/office/drawing/2014/main" val="2000845719"/>
                  </a:ext>
                </a:extLst>
              </a:tr>
              <a:tr h="186338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3239152623"/>
                  </a:ext>
                </a:extLst>
              </a:tr>
              <a:tr h="186338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  Prior metastatic CDK4/6i – n (%)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47 (87.0)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50 (90.9)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51 (92.7)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48 (90.2)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/>
                </a:tc>
                <a:extLst>
                  <a:ext uri="{0D108BD9-81ED-4DB2-BD59-A6C34878D82A}">
                    <a16:rowId xmlns:a16="http://schemas.microsoft.com/office/drawing/2014/main" val="3339138787"/>
                  </a:ext>
                </a:extLst>
              </a:tr>
              <a:tr h="197291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2648122424"/>
                  </a:ext>
                </a:extLst>
              </a:tr>
              <a:tr h="197291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/>
                </a:tc>
                <a:extLst>
                  <a:ext uri="{0D108BD9-81ED-4DB2-BD59-A6C34878D82A}">
                    <a16:rowId xmlns:a16="http://schemas.microsoft.com/office/drawing/2014/main" val="328186608"/>
                  </a:ext>
                </a:extLst>
              </a:tr>
              <a:tr h="197291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Prior lines of treatment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 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 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 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 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/>
                </a:tc>
                <a:extLst>
                  <a:ext uri="{0D108BD9-81ED-4DB2-BD59-A6C34878D82A}">
                    <a16:rowId xmlns:a16="http://schemas.microsoft.com/office/drawing/2014/main" val="2413518401"/>
                  </a:ext>
                </a:extLst>
              </a:tr>
              <a:tr h="197291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  1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0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 (1.8)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 (1.8)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2 (1.2)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/>
                </a:tc>
                <a:extLst>
                  <a:ext uri="{0D108BD9-81ED-4DB2-BD59-A6C34878D82A}">
                    <a16:rowId xmlns:a16="http://schemas.microsoft.com/office/drawing/2014/main" val="345730501"/>
                  </a:ext>
                </a:extLst>
              </a:tr>
              <a:tr h="197291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  2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29 (53.7)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27 (49.1)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35 (63.6)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91 (55.5)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/>
                </a:tc>
                <a:extLst>
                  <a:ext uri="{0D108BD9-81ED-4DB2-BD59-A6C34878D82A}">
                    <a16:rowId xmlns:a16="http://schemas.microsoft.com/office/drawing/2014/main" val="684496031"/>
                  </a:ext>
                </a:extLst>
              </a:tr>
              <a:tr h="197291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  3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20 (37.0)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6 (29.1)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1 (20.0)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47 (28.7)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/>
                </a:tc>
                <a:extLst>
                  <a:ext uri="{0D108BD9-81ED-4DB2-BD59-A6C34878D82A}">
                    <a16:rowId xmlns:a16="http://schemas.microsoft.com/office/drawing/2014/main" val="1955852799"/>
                  </a:ext>
                </a:extLst>
              </a:tr>
              <a:tr h="197291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  4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2 (3.7)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5 (9.1)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2 (3.6)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9 (5.5)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/>
                </a:tc>
                <a:extLst>
                  <a:ext uri="{0D108BD9-81ED-4DB2-BD59-A6C34878D82A}">
                    <a16:rowId xmlns:a16="http://schemas.microsoft.com/office/drawing/2014/main" val="403286553"/>
                  </a:ext>
                </a:extLst>
              </a:tr>
              <a:tr h="197291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  5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0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 (1.8)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 (1.8)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2 (1.2)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/>
                </a:tc>
                <a:extLst>
                  <a:ext uri="{0D108BD9-81ED-4DB2-BD59-A6C34878D82A}">
                    <a16:rowId xmlns:a16="http://schemas.microsoft.com/office/drawing/2014/main" val="1460978824"/>
                  </a:ext>
                </a:extLst>
              </a:tr>
              <a:tr h="197291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  Missing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3 (5.6)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5 (9.1)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5 (9.1)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3 (7.9)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/>
                </a:tc>
                <a:extLst>
                  <a:ext uri="{0D108BD9-81ED-4DB2-BD59-A6C34878D82A}">
                    <a16:rowId xmlns:a16="http://schemas.microsoft.com/office/drawing/2014/main" val="30392794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5613205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7D160F3-117F-CC85-C9FB-C82078DB683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314964" y="2259931"/>
            <a:ext cx="8929979" cy="1470025"/>
          </a:xfrm>
        </p:spPr>
        <p:txBody>
          <a:bodyPr/>
          <a:lstStyle/>
          <a:p>
            <a:pPr algn="ctr"/>
            <a:r>
              <a:rPr lang="en-US" dirty="0"/>
              <a:t>Safety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1CDB0E58-4784-A156-A4D6-4F35EEF66B2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548992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37E5D1-8EF0-8AAD-F159-22D7ED893C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65E28AA4-2241-11F4-DCC5-E0BF2E36A5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Alisertib Grades 3-4 TEAEs in Subjects with MBC</a:t>
            </a:r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20423A70-7C89-1589-B752-DA5CE20A6582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219457" y="1859280"/>
          <a:ext cx="11704320" cy="3139440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2684541">
                  <a:extLst>
                    <a:ext uri="{9D8B030D-6E8A-4147-A177-3AD203B41FA5}">
                      <a16:colId xmlns:a16="http://schemas.microsoft.com/office/drawing/2014/main" val="4221235273"/>
                    </a:ext>
                  </a:extLst>
                </a:gridCol>
                <a:gridCol w="1266453">
                  <a:extLst>
                    <a:ext uri="{9D8B030D-6E8A-4147-A177-3AD203B41FA5}">
                      <a16:colId xmlns:a16="http://schemas.microsoft.com/office/drawing/2014/main" val="1907271253"/>
                    </a:ext>
                  </a:extLst>
                </a:gridCol>
                <a:gridCol w="1315949">
                  <a:extLst>
                    <a:ext uri="{9D8B030D-6E8A-4147-A177-3AD203B41FA5}">
                      <a16:colId xmlns:a16="http://schemas.microsoft.com/office/drawing/2014/main" val="3615766744"/>
                    </a:ext>
                  </a:extLst>
                </a:gridCol>
                <a:gridCol w="2113601">
                  <a:extLst>
                    <a:ext uri="{9D8B030D-6E8A-4147-A177-3AD203B41FA5}">
                      <a16:colId xmlns:a16="http://schemas.microsoft.com/office/drawing/2014/main" val="1645314114"/>
                    </a:ext>
                  </a:extLst>
                </a:gridCol>
                <a:gridCol w="2133993">
                  <a:extLst>
                    <a:ext uri="{9D8B030D-6E8A-4147-A177-3AD203B41FA5}">
                      <a16:colId xmlns:a16="http://schemas.microsoft.com/office/drawing/2014/main" val="3957616054"/>
                    </a:ext>
                  </a:extLst>
                </a:gridCol>
                <a:gridCol w="2189783">
                  <a:extLst>
                    <a:ext uri="{9D8B030D-6E8A-4147-A177-3AD203B41FA5}">
                      <a16:colId xmlns:a16="http://schemas.microsoft.com/office/drawing/2014/main" val="107623005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/>
                        <a:t>Alisertib 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noProof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50 mg BID</a:t>
                      </a:r>
                      <a:r>
                        <a:rPr lang="en-US" sz="1400"/>
                        <a:t>   </a:t>
                      </a:r>
                    </a:p>
                    <a:p>
                      <a:pPr lvl="0" algn="ctr">
                        <a:buNone/>
                      </a:pPr>
                      <a:r>
                        <a:rPr lang="en-US" sz="1400"/>
                        <a:t>(n=46)</a:t>
                      </a:r>
                      <a:r>
                        <a:rPr lang="en-US" sz="1400" baseline="30000"/>
                        <a:t>1</a:t>
                      </a:r>
                      <a:endParaRPr lang="en-US" sz="1400"/>
                    </a:p>
                  </a:txBody>
                  <a:tcPr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/>
                        <a:t>Alisertib + Fulvestrant</a:t>
                      </a:r>
                    </a:p>
                    <a:p>
                      <a:pPr algn="ctr"/>
                      <a:r>
                        <a:rPr lang="en-US" sz="1400"/>
                        <a:t>50 mg BID</a:t>
                      </a:r>
                    </a:p>
                    <a:p>
                      <a:pPr lvl="0" algn="ctr">
                        <a:buNone/>
                      </a:pPr>
                      <a:r>
                        <a:rPr lang="en-US" sz="1400"/>
                        <a:t>(n=45)</a:t>
                      </a:r>
                      <a:r>
                        <a:rPr lang="en-US" sz="1400" baseline="30000"/>
                        <a:t>1</a:t>
                      </a:r>
                      <a:r>
                        <a:rPr lang="en-US" sz="1400"/>
                        <a:t> 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50 mg BID</a:t>
                      </a:r>
                    </a:p>
                    <a:p>
                      <a:pPr algn="ctr"/>
                      <a:r>
                        <a:rPr lang="en-US" sz="1400"/>
                        <a:t>(n=52)</a:t>
                      </a:r>
                      <a:r>
                        <a:rPr lang="en-US" sz="1400" baseline="30000"/>
                        <a:t>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40 mg BID</a:t>
                      </a:r>
                    </a:p>
                    <a:p>
                      <a:pPr algn="ctr"/>
                      <a:r>
                        <a:rPr lang="en-US" sz="1400"/>
                        <a:t>(n=49)</a:t>
                      </a:r>
                      <a:r>
                        <a:rPr lang="en-US" sz="1400" baseline="30000"/>
                        <a:t>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30 mg BID</a:t>
                      </a:r>
                    </a:p>
                    <a:p>
                      <a:pPr algn="ctr"/>
                      <a:r>
                        <a:rPr lang="en-US" sz="1400"/>
                        <a:t>(n=50)</a:t>
                      </a:r>
                      <a:r>
                        <a:rPr lang="en-US" sz="1400" baseline="30000"/>
                        <a:t>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78555217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400"/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2119301824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  Neutropenia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9 (41.3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kern="10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9 (42.2)</a:t>
                      </a:r>
                      <a:endParaRPr lang="en-US" sz="1400"/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4 (26.9)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5 (10.2)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4 (8.0)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1528414180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  Anemia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8 (17.4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kern="10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4 (8.9)</a:t>
                      </a:r>
                      <a:endParaRPr lang="en-US" sz="1400"/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2 (3.8)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0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 (2.0)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1858635264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  Thrombocytopenia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3 (6.5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kern="10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2 (4.4)</a:t>
                      </a:r>
                      <a:endParaRPr lang="en-US" sz="1400"/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 (1.9)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 (2.0)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 (2.0)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75549934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  Febrile neutropenia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 (2.2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kern="10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2 (4.4)</a:t>
                      </a:r>
                      <a:endParaRPr lang="en-US" sz="1400"/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2 (3.8)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0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0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2803343161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  Diarrhea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NR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kern="10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NR</a:t>
                      </a:r>
                      <a:endParaRPr lang="en-US" sz="1400"/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0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 (2.0)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0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4045066906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  Somnolence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NR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kern="10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NR</a:t>
                      </a:r>
                      <a:endParaRPr lang="en-US" sz="1400"/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 (1.9)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0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0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3927312523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  Stomatitis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 (2.2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kern="10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 (2.2)</a:t>
                      </a:r>
                      <a:endParaRPr lang="en-US" sz="1400"/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 (1.9)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0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0</a:t>
                      </a:r>
                      <a:endParaRPr lang="en-US" sz="14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3496756576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6727CD96-4BFD-D920-EF3D-CD5F25B070BB}"/>
              </a:ext>
            </a:extLst>
          </p:cNvPr>
          <p:cNvSpPr txBox="1"/>
          <p:nvPr/>
        </p:nvSpPr>
        <p:spPr>
          <a:xfrm>
            <a:off x="300608" y="6159742"/>
            <a:ext cx="10859828" cy="369332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NR=Not reporte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1</a:t>
            </a:r>
            <a:r>
              <a:rPr kumimoji="0" lang="en-US" sz="9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Haddad, et. al. JAMA Oncology, 2023. </a:t>
            </a:r>
            <a:r>
              <a:rPr kumimoji="0" lang="en-US" sz="900" b="0" i="0" u="none" strike="noStrike" kern="1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2</a:t>
            </a:r>
            <a:r>
              <a:rPr kumimoji="0" lang="en-US" sz="9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Source: Data Extract 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4021A243-E5CB-BF28-A4D2-0ABEABB3D83E}"/>
              </a:ext>
            </a:extLst>
          </p:cNvPr>
          <p:cNvGraphicFramePr>
            <a:graphicFrameLocks noGrp="1"/>
          </p:cNvGraphicFramePr>
          <p:nvPr/>
        </p:nvGraphicFramePr>
        <p:xfrm>
          <a:off x="219457" y="1341120"/>
          <a:ext cx="11704320" cy="518160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2725481">
                  <a:extLst>
                    <a:ext uri="{9D8B030D-6E8A-4147-A177-3AD203B41FA5}">
                      <a16:colId xmlns:a16="http://schemas.microsoft.com/office/drawing/2014/main" val="3950085786"/>
                    </a:ext>
                  </a:extLst>
                </a:gridCol>
                <a:gridCol w="2555317">
                  <a:extLst>
                    <a:ext uri="{9D8B030D-6E8A-4147-A177-3AD203B41FA5}">
                      <a16:colId xmlns:a16="http://schemas.microsoft.com/office/drawing/2014/main" val="2339678272"/>
                    </a:ext>
                  </a:extLst>
                </a:gridCol>
                <a:gridCol w="6423522">
                  <a:extLst>
                    <a:ext uri="{9D8B030D-6E8A-4147-A177-3AD203B41FA5}">
                      <a16:colId xmlns:a16="http://schemas.microsoft.com/office/drawing/2014/main" val="509616807"/>
                    </a:ext>
                  </a:extLst>
                </a:gridCol>
              </a:tblGrid>
              <a:tr h="452093">
                <a:tc>
                  <a:txBody>
                    <a:bodyPr/>
                    <a:lstStyle/>
                    <a:p>
                      <a:endParaRPr lang="en-US" sz="140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TBCRC041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ALISCA</a:t>
                      </a:r>
                      <a:r>
                        <a:rPr lang="en-US" sz="1400" baseline="30000" dirty="0"/>
                        <a:t>TM</a:t>
                      </a:r>
                      <a:r>
                        <a:rPr lang="en-US" sz="1400" dirty="0"/>
                        <a:t>-Breast1</a:t>
                      </a:r>
                    </a:p>
                    <a:p>
                      <a:pPr algn="ctr"/>
                      <a:r>
                        <a:rPr lang="en-US" sz="1400" dirty="0"/>
                        <a:t>Alisertib + endocrin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54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679026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8615885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61A5E5F-BDBA-187B-4E29-8213F43FA9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314964" y="2259931"/>
            <a:ext cx="8157093" cy="1470025"/>
          </a:xfrm>
        </p:spPr>
        <p:txBody>
          <a:bodyPr/>
          <a:lstStyle/>
          <a:p>
            <a:pPr algn="ctr"/>
            <a:r>
              <a:rPr lang="en-US" dirty="0"/>
              <a:t>Efficacy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02714780-6DD0-BF69-5D48-355B5B5BA70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95518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olcBQbRtCpuPG4.EiIlQ"/>
</p:tagLst>
</file>

<file path=ppt/theme/theme1.xml><?xml version="1.0" encoding="utf-8"?>
<a:theme xmlns:a="http://schemas.openxmlformats.org/drawingml/2006/main" name="puma theme">
  <a:themeElements>
    <a:clrScheme name="PUMA MA">
      <a:dk1>
        <a:sysClr val="windowText" lastClr="000000"/>
      </a:dk1>
      <a:lt1>
        <a:sysClr val="window" lastClr="FFFFFF"/>
      </a:lt1>
      <a:dk2>
        <a:srgbClr val="04617B"/>
      </a:dk2>
      <a:lt2>
        <a:srgbClr val="CFDDE6"/>
      </a:lt2>
      <a:accent1>
        <a:srgbClr val="4176A0"/>
      </a:accent1>
      <a:accent2>
        <a:srgbClr val="E5E7E6"/>
      </a:accent2>
      <a:accent3>
        <a:srgbClr val="CFDDE6"/>
      </a:accent3>
      <a:accent4>
        <a:srgbClr val="FDB71A"/>
      </a:accent4>
      <a:accent5>
        <a:srgbClr val="A5C249"/>
      </a:accent5>
      <a:accent6>
        <a:srgbClr val="99C1F1"/>
      </a:accent6>
      <a:hlink>
        <a:srgbClr val="FDB71A"/>
      </a:hlink>
      <a:folHlink>
        <a:srgbClr val="85DFD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bg1">
              <a:lumMod val="50000"/>
            </a:schemeClr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900" dirty="0" smtClean="0">
            <a:solidFill>
              <a:schemeClr val="tx1">
                <a:lumMod val="65000"/>
                <a:lumOff val="35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uma theme" id="{7C93B296-86E7-42E5-9614-D6ABFB69BA11}" vid="{213890C2-5490-4126-9C0F-434BE51E6365}"/>
    </a:ext>
  </a:extLst>
</a:theme>
</file>

<file path=ppt/theme/theme2.xml><?xml version="1.0" encoding="utf-8"?>
<a:theme xmlns:a="http://schemas.openxmlformats.org/drawingml/2006/main" name="2_Puma template 1">
  <a:themeElements>
    <a:clrScheme name="PUMA MA">
      <a:dk1>
        <a:sysClr val="windowText" lastClr="000000"/>
      </a:dk1>
      <a:lt1>
        <a:sysClr val="window" lastClr="FFFFFF"/>
      </a:lt1>
      <a:dk2>
        <a:srgbClr val="04617B"/>
      </a:dk2>
      <a:lt2>
        <a:srgbClr val="CFDDE6"/>
      </a:lt2>
      <a:accent1>
        <a:srgbClr val="4176A0"/>
      </a:accent1>
      <a:accent2>
        <a:srgbClr val="E5E7E6"/>
      </a:accent2>
      <a:accent3>
        <a:srgbClr val="CFDDE6"/>
      </a:accent3>
      <a:accent4>
        <a:srgbClr val="FDB71A"/>
      </a:accent4>
      <a:accent5>
        <a:srgbClr val="A5C249"/>
      </a:accent5>
      <a:accent6>
        <a:srgbClr val="99C1F1"/>
      </a:accent6>
      <a:hlink>
        <a:srgbClr val="FDB71A"/>
      </a:hlink>
      <a:folHlink>
        <a:srgbClr val="85DFD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bg1">
              <a:lumMod val="50000"/>
            </a:schemeClr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900" dirty="0" smtClean="0">
            <a:solidFill>
              <a:schemeClr val="tx1">
                <a:lumMod val="65000"/>
                <a:lumOff val="35000"/>
              </a:schemeClr>
            </a:solidFill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29FE591B4DE864584FFF1762DCF4000" ma:contentTypeVersion="12" ma:contentTypeDescription="Create a new document." ma:contentTypeScope="" ma:versionID="35f6a068e0485099e8fca720bbaa2604">
  <xsd:schema xmlns:xsd="http://www.w3.org/2001/XMLSchema" xmlns:xs="http://www.w3.org/2001/XMLSchema" xmlns:p="http://schemas.microsoft.com/office/2006/metadata/properties" xmlns:ns2="a3f3818c-0762-4940-99c7-72fea57547d9" xmlns:ns3="6af055a3-158c-419c-99de-f7f1d419df95" targetNamespace="http://schemas.microsoft.com/office/2006/metadata/properties" ma:root="true" ma:fieldsID="860a77bc36da6406e5817f0a3d8ce6ea" ns2:_="" ns3:_="">
    <xsd:import namespace="a3f3818c-0762-4940-99c7-72fea57547d9"/>
    <xsd:import namespace="6af055a3-158c-419c-99de-f7f1d419df9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3f3818c-0762-4940-99c7-72fea57547d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6" nillable="true" ma:taxonomy="true" ma:internalName="lcf76f155ced4ddcb4097134ff3c332f" ma:taxonomyFieldName="MediaServiceImageTags" ma:displayName="Image Tags" ma:readOnly="false" ma:fieldId="{5cf76f15-5ced-4ddc-b409-7134ff3c332f}" ma:taxonomyMulti="true" ma:sspId="507ece73-930b-477c-a06c-c3493eb8342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8" nillable="true" ma:displayName="MediaServiceDateTaken" ma:description="" ma:hidden="true" ma:indexed="true" ma:internalName="MediaServiceDateTaken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af055a3-158c-419c-99de-f7f1d419df95" elementFormDefault="qualified">
    <xsd:import namespace="http://schemas.microsoft.com/office/2006/documentManagement/types"/>
    <xsd:import namespace="http://schemas.microsoft.com/office/infopath/2007/PartnerControls"/>
    <xsd:element name="TaxCatchAll" ma:index="17" nillable="true" ma:displayName="Taxonomy Catch All Column" ma:hidden="true" ma:list="{b21d7df7-d45e-4fd3-8cd2-d83fa867c98c}" ma:internalName="TaxCatchAll" ma:showField="CatchAllData" ma:web="6af055a3-158c-419c-99de-f7f1d419df9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a3f3818c-0762-4940-99c7-72fea57547d9">
      <Terms xmlns="http://schemas.microsoft.com/office/infopath/2007/PartnerControls"/>
    </lcf76f155ced4ddcb4097134ff3c332f>
    <TaxCatchAll xmlns="6af055a3-158c-419c-99de-f7f1d419df95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D5B0112-AC76-407B-9E61-AD661BFAFE5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3f3818c-0762-4940-99c7-72fea57547d9"/>
    <ds:schemaRef ds:uri="6af055a3-158c-419c-99de-f7f1d419df9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B464B2E5-6472-497F-8451-02B7031FDE3C}">
  <ds:schemaRefs>
    <ds:schemaRef ds:uri="http://schemas.microsoft.com/office/2006/metadata/properties"/>
    <ds:schemaRef ds:uri="http://schemas.microsoft.com/office/infopath/2007/PartnerControls"/>
    <ds:schemaRef ds:uri="a3f3818c-0762-4940-99c7-72fea57547d9"/>
    <ds:schemaRef ds:uri="6af055a3-158c-419c-99de-f7f1d419df95"/>
  </ds:schemaRefs>
</ds:datastoreItem>
</file>

<file path=customXml/itemProps3.xml><?xml version="1.0" encoding="utf-8"?>
<ds:datastoreItem xmlns:ds="http://schemas.openxmlformats.org/officeDocument/2006/customXml" ds:itemID="{38B1A626-F093-4479-BA8A-FC5D7F6DB0B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61</TotalTime>
  <Words>1539</Words>
  <Application>Microsoft Office PowerPoint</Application>
  <PresentationFormat>Widescreen</PresentationFormat>
  <Paragraphs>375</Paragraphs>
  <Slides>26</Slides>
  <Notes>2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5" baseType="lpstr">
      <vt:lpstr>Aptos</vt:lpstr>
      <vt:lpstr>Arial</vt:lpstr>
      <vt:lpstr>Calibri</vt:lpstr>
      <vt:lpstr>Calibri Regular</vt:lpstr>
      <vt:lpstr>Courier New</vt:lpstr>
      <vt:lpstr>Times New Roman</vt:lpstr>
      <vt:lpstr>puma theme</vt:lpstr>
      <vt:lpstr>2_Puma template 1</vt:lpstr>
      <vt:lpstr>think-cell Slide</vt:lpstr>
      <vt:lpstr>  Puma Biotechnology</vt:lpstr>
      <vt:lpstr>ALISCATM-Breast1 (PUMA-ALI-1201) Interim Analysis</vt:lpstr>
      <vt:lpstr>Alisertib (MLN 8237)</vt:lpstr>
      <vt:lpstr>AURKA and c-Myc Co-regulate Each Other </vt:lpstr>
      <vt:lpstr>ALISCA™-Breast1 Phase II dose optimization, biomarker evaluation in HR+/HER- MBC</vt:lpstr>
      <vt:lpstr>ALISCATM-Breast1 Summary of Prior Metastatic Anti-cancer Therapy</vt:lpstr>
      <vt:lpstr>Safety</vt:lpstr>
      <vt:lpstr>Alisertib Grades 3-4 TEAEs in Subjects with MBC</vt:lpstr>
      <vt:lpstr>Efficacy</vt:lpstr>
      <vt:lpstr>ALISCATM-Breast1 Summary of Clinical Benefit1</vt:lpstr>
      <vt:lpstr>ALISCATM-Breast1 PFS – ITT population</vt:lpstr>
      <vt:lpstr>Biomarker</vt:lpstr>
      <vt:lpstr>ALISCATM-Breast1 PFS MYC Copy Number</vt:lpstr>
      <vt:lpstr>ALISCATM-Breast1 PFS by c-Myc % Positive Cells</vt:lpstr>
      <vt:lpstr>  ALISCATM-Breast1 PFS by c-Myc % Positive Cells by Treatment Group </vt:lpstr>
      <vt:lpstr>ALISCATM-Breast1 PFS ESR1 Mutation Status</vt:lpstr>
      <vt:lpstr>ALISCATM-Breast1 PFS by ESR1 Mutation Status by Treatment Group –  ctDNA</vt:lpstr>
      <vt:lpstr>ALISCATM-Breast1 PFS by ESR1 Mutation Status by Treatment Group –  Tissue</vt:lpstr>
      <vt:lpstr>ALISCATM-Breast1 PFS PIK3CA Mutation Status </vt:lpstr>
      <vt:lpstr>ALISCATM-Breast1 PFS by PIK3CA Mutation Status by Treatment Group –  ctDNA</vt:lpstr>
      <vt:lpstr>ALISCATM-Breast1 PFS Patients with PIK3CA Wild type by  ESR1 Mutation Status </vt:lpstr>
      <vt:lpstr>ALISCATM-Breast1 PFS Patients with PIK3CA Wild type by  ESR1 Mutation Status by Treatment Group – ctDNA </vt:lpstr>
      <vt:lpstr>ALISCATM-Breast1 PFS Patients with PIK3CA Wild type by  ESR1 Mutation Status by Treatment Group – Tissue</vt:lpstr>
      <vt:lpstr>ALISCATM-Breast1 Patients with ESR1 mut and PIK3CA WT –  Summary of FFPE tissue sample category and c-Myc positive cells</vt:lpstr>
      <vt:lpstr>Parallel Clinical and Biomarker Development</vt:lpstr>
      <vt:lpstr>ALISCATM-Breast1 – Expected Mileston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Aimee Frazier</dc:creator>
  <cp:lastModifiedBy>Mariann Ohanesian</cp:lastModifiedBy>
  <cp:revision>5</cp:revision>
  <dcterms:created xsi:type="dcterms:W3CDTF">2024-10-07T12:42:44Z</dcterms:created>
  <dcterms:modified xsi:type="dcterms:W3CDTF">2026-05-08T13:29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29FE591B4DE864584FFF1762DCF4000</vt:lpwstr>
  </property>
  <property fmtid="{D5CDD505-2E9C-101B-9397-08002B2CF9AE}" pid="3" name="MediaServiceImageTags">
    <vt:lpwstr/>
  </property>
</Properties>
</file>